
<file path=[Content_Types].xml><?xml version="1.0" encoding="utf-8"?>
<Types xmlns="http://schemas.openxmlformats.org/package/2006/content-types">
  <Default Extension="bin" ContentType="application/vnd.openxmlformats-officedocument.oleObject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media/image6.bin" ContentType="image/x-emf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9"/>
  </p:notesMasterIdLst>
  <p:sldIdLst>
    <p:sldId id="264" r:id="rId5"/>
    <p:sldId id="265" r:id="rId6"/>
    <p:sldId id="274" r:id="rId7"/>
    <p:sldId id="261" r:id="rId8"/>
    <p:sldId id="266" r:id="rId9"/>
    <p:sldId id="280" r:id="rId10"/>
    <p:sldId id="276" r:id="rId11"/>
    <p:sldId id="279" r:id="rId12"/>
    <p:sldId id="259" r:id="rId13"/>
    <p:sldId id="278" r:id="rId14"/>
    <p:sldId id="270" r:id="rId15"/>
    <p:sldId id="281" r:id="rId16"/>
    <p:sldId id="271" r:id="rId17"/>
    <p:sldId id="272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9D778"/>
    <a:srgbClr val="82FE2E"/>
    <a:srgbClr val="8CADFE"/>
    <a:srgbClr val="5988FD"/>
    <a:srgbClr val="27B357"/>
    <a:srgbClr val="FF5A2D"/>
    <a:srgbClr val="80C6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E30276-C3F5-4C17-BA8F-9D346F3E7B15}" v="1" dt="2024-08-14T08:18:24.37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44" autoAdjust="0"/>
    <p:restoredTop sz="94660"/>
  </p:normalViewPr>
  <p:slideViewPr>
    <p:cSldViewPr snapToGrid="0">
      <p:cViewPr>
        <p:scale>
          <a:sx n="75" d="100"/>
          <a:sy n="75" d="100"/>
        </p:scale>
        <p:origin x="1350" y="75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divhudzannyi Tshikhovhokhovho" userId="2dffc6ec-6b7a-448a-9250-5231830b2de5" providerId="ADAL" clId="{B6E30276-C3F5-4C17-BA8F-9D346F3E7B15}"/>
    <pc:docChg chg="modSld">
      <pc:chgData name="Ndivhudzannyi Tshikhovhokhovho" userId="2dffc6ec-6b7a-448a-9250-5231830b2de5" providerId="ADAL" clId="{B6E30276-C3F5-4C17-BA8F-9D346F3E7B15}" dt="2024-08-14T08:18:24.373" v="0"/>
      <pc:docMkLst>
        <pc:docMk/>
      </pc:docMkLst>
      <pc:sldChg chg="addSp modSp">
        <pc:chgData name="Ndivhudzannyi Tshikhovhokhovho" userId="2dffc6ec-6b7a-448a-9250-5231830b2de5" providerId="ADAL" clId="{B6E30276-C3F5-4C17-BA8F-9D346F3E7B15}" dt="2024-08-14T08:18:24.373" v="0"/>
        <pc:sldMkLst>
          <pc:docMk/>
          <pc:sldMk cId="4108746984" sldId="261"/>
        </pc:sldMkLst>
        <pc:spChg chg="add 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3" creationId="{26D88EA7-774B-A8B7-126A-97CC043C22C8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6" creationId="{AA2B51DA-4B7D-3AF7-47D2-259FE0D276E1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7" creationId="{BFEEDD9E-80CC-C013-9EA9-990078235898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10" creationId="{C36CCA99-46D9-8AF1-2FF1-177995D85FAE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11" creationId="{13CEE575-E8CA-6016-B857-99CC956DC511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13" creationId="{CD84DD56-1397-C8E6-ED5D-859E2CE14C50}"/>
          </ac:spMkLst>
        </pc:spChg>
        <pc:spChg chg="add 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16" creationId="{71448B28-0269-0E24-6D72-DB28654A8667}"/>
          </ac:spMkLst>
        </pc:spChg>
        <pc:grpChg chg="add mod">
          <ac:chgData name="Ndivhudzannyi Tshikhovhokhovho" userId="2dffc6ec-6b7a-448a-9250-5231830b2de5" providerId="ADAL" clId="{B6E30276-C3F5-4C17-BA8F-9D346F3E7B15}" dt="2024-08-14T08:18:24.373" v="0"/>
          <ac:grpSpMkLst>
            <pc:docMk/>
            <pc:sldMk cId="4108746984" sldId="261"/>
            <ac:grpSpMk id="4" creationId="{24C805A9-10A1-32C6-8C94-E204F9A36C3E}"/>
          </ac:grpSpMkLst>
        </pc:grpChg>
        <pc:grpChg chg="add mod">
          <ac:chgData name="Ndivhudzannyi Tshikhovhokhovho" userId="2dffc6ec-6b7a-448a-9250-5231830b2de5" providerId="ADAL" clId="{B6E30276-C3F5-4C17-BA8F-9D346F3E7B15}" dt="2024-08-14T08:18:24.373" v="0"/>
          <ac:grpSpMkLst>
            <pc:docMk/>
            <pc:sldMk cId="4108746984" sldId="261"/>
            <ac:grpSpMk id="8" creationId="{3399B518-B5D3-1C82-5B0E-D5481BE335EE}"/>
          </ac:grpSpMkLst>
        </pc:grpChg>
        <pc:grpChg chg="add mod">
          <ac:chgData name="Ndivhudzannyi Tshikhovhokhovho" userId="2dffc6ec-6b7a-448a-9250-5231830b2de5" providerId="ADAL" clId="{B6E30276-C3F5-4C17-BA8F-9D346F3E7B15}" dt="2024-08-14T08:18:24.373" v="0"/>
          <ac:grpSpMkLst>
            <pc:docMk/>
            <pc:sldMk cId="4108746984" sldId="261"/>
            <ac:grpSpMk id="12" creationId="{89B89DE4-E64A-C5FA-DDBF-C59670A99B95}"/>
          </ac:grpSpMkLst>
        </pc:grpChg>
        <pc:picChg chg="mod">
          <ac:chgData name="Ndivhudzannyi Tshikhovhokhovho" userId="2dffc6ec-6b7a-448a-9250-5231830b2de5" providerId="ADAL" clId="{B6E30276-C3F5-4C17-BA8F-9D346F3E7B15}" dt="2024-08-14T08:18:24.373" v="0"/>
          <ac:picMkLst>
            <pc:docMk/>
            <pc:sldMk cId="4108746984" sldId="261"/>
            <ac:picMk id="5" creationId="{5421B780-B428-644B-2476-000D18CDBFBC}"/>
          </ac:picMkLst>
        </pc:picChg>
        <pc:picChg chg="mod">
          <ac:chgData name="Ndivhudzannyi Tshikhovhokhovho" userId="2dffc6ec-6b7a-448a-9250-5231830b2de5" providerId="ADAL" clId="{B6E30276-C3F5-4C17-BA8F-9D346F3E7B15}" dt="2024-08-14T08:18:24.373" v="0"/>
          <ac:picMkLst>
            <pc:docMk/>
            <pc:sldMk cId="4108746984" sldId="261"/>
            <ac:picMk id="9" creationId="{1C451441-454B-4F86-F092-EF40DB83B736}"/>
          </ac:picMkLst>
        </pc:picChg>
        <pc:picChg chg="mod">
          <ac:chgData name="Ndivhudzannyi Tshikhovhokhovho" userId="2dffc6ec-6b7a-448a-9250-5231830b2de5" providerId="ADAL" clId="{B6E30276-C3F5-4C17-BA8F-9D346F3E7B15}" dt="2024-08-14T08:18:24.373" v="0"/>
          <ac:picMkLst>
            <pc:docMk/>
            <pc:sldMk cId="4108746984" sldId="261"/>
            <ac:picMk id="14" creationId="{E418057D-431C-DA4D-0A8F-8D1F397EE0BD}"/>
          </ac:picMkLst>
        </pc:picChg>
        <pc:picChg chg="mod">
          <ac:chgData name="Ndivhudzannyi Tshikhovhokhovho" userId="2dffc6ec-6b7a-448a-9250-5231830b2de5" providerId="ADAL" clId="{B6E30276-C3F5-4C17-BA8F-9D346F3E7B15}" dt="2024-08-14T08:18:24.373" v="0"/>
          <ac:picMkLst>
            <pc:docMk/>
            <pc:sldMk cId="4108746984" sldId="261"/>
            <ac:picMk id="15" creationId="{265500B7-1666-5D4C-25F1-1998C1D86851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F76FB3-C109-4703-AC04-1583329D09BA}" type="datetimeFigureOut">
              <a:rPr lang="en-ZA" smtClean="0"/>
              <a:t>2024/08/19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A8752E-BB25-4A52-ACD7-4BCFA4960EE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28362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210783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141070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729365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8387858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9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9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9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9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9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B7760CEC-F44E-48BB-82EA-3BACC3ED663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800" i="1">
                <a:solidFill>
                  <a:srgbClr val="545859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800"/>
            </a:lvl2pPr>
            <a:lvl3pPr marL="0" indent="0" algn="l">
              <a:buFont typeface="Arial" panose="020B0604020202020204" pitchFamily="34" charset="0"/>
              <a:buChar char="​"/>
              <a:defRPr sz="800"/>
            </a:lvl3pPr>
            <a:lvl4pPr marL="0" indent="0" algn="l">
              <a:buFont typeface="Arial" panose="020B0604020202020204" pitchFamily="34" charset="0"/>
              <a:buChar char="​"/>
              <a:defRPr sz="800"/>
            </a:lvl4pPr>
            <a:lvl5pPr marL="0" indent="0" algn="l">
              <a:buFont typeface="Arial" panose="020B0604020202020204" pitchFamily="34" charset="0"/>
              <a:buChar char="​"/>
              <a:defRPr sz="800"/>
            </a:lvl5pPr>
            <a:lvl6pPr marL="0" indent="0" algn="l">
              <a:buFont typeface="Arial" panose="020B0604020202020204" pitchFamily="34" charset="0"/>
              <a:buChar char="​"/>
              <a:defRPr sz="800"/>
            </a:lvl6pPr>
            <a:lvl7pPr marL="0" indent="0" algn="l">
              <a:buFont typeface="Arial" panose="020B0604020202020204" pitchFamily="34" charset="0"/>
              <a:buChar char="​"/>
              <a:defRPr sz="800"/>
            </a:lvl7pPr>
            <a:lvl8pPr marL="0" indent="0" algn="l">
              <a:buFont typeface="Arial" panose="020B0604020202020204" pitchFamily="34" charset="0"/>
              <a:buChar char="​"/>
              <a:defRPr sz="800"/>
            </a:lvl8pPr>
            <a:lvl9pPr marL="0" indent="0" algn="l">
              <a:buFont typeface="Arial" panose="020B0604020202020204" pitchFamily="34" charset="0"/>
              <a:buChar char="​"/>
              <a:defRPr sz="800"/>
            </a:lvl9pPr>
          </a:lstStyle>
          <a:p>
            <a:r>
              <a:rPr lang="en-GB" dirty="0"/>
              <a:t>Click to add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F02E9D8-243A-43CF-853E-50C27FDBBC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8C49C12-383D-468E-AA2D-912157218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E77DCE-4538-484C-A26C-2C0A8F285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71E8AA1-F810-2E54-094C-0CE43BD404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254" y="101657"/>
            <a:ext cx="11041200" cy="460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1101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9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hirt, drawing&#10;&#10;Description automatically generated">
            <a:extLst>
              <a:ext uri="{FF2B5EF4-FFF2-40B4-BE49-F238E27FC236}">
                <a16:creationId xmlns:a16="http://schemas.microsoft.com/office/drawing/2014/main" id="{FE1C9B99-D3EF-3D0D-FCA5-EB8CC38039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314" y="425657"/>
            <a:ext cx="12061372" cy="4608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ext Placeholder note">
            <a:extLst>
              <a:ext uri="{FF2B5EF4-FFF2-40B4-BE49-F238E27FC236}">
                <a16:creationId xmlns:a16="http://schemas.microsoft.com/office/drawing/2014/main" id="{C2EEB9EA-C355-4ABE-92DA-38C8B92EB55C}"/>
              </a:ext>
            </a:extLst>
          </p:cNvPr>
          <p:cNvSpPr>
            <a:spLocks noGrp="1"/>
          </p:cNvSpPr>
          <p:nvPr>
            <p:ph type="body" sz="quarter" idx="23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Click to add not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AE4621-8D7A-4671-BACE-5BF6111EB4C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030E0CB-5F0D-4F26-BC2F-033B07AFC4C7}" type="datetime1">
              <a:rPr lang="en-US" smtClean="0"/>
              <a:t>8/19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5D5838-FBFA-467A-8E56-F786B513F2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BD57CE-DB07-49DF-BCD6-2DDC1E447F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000" y="1727202"/>
            <a:ext cx="11041200" cy="42656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Highligh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1" y="6469200"/>
            <a:ext cx="188748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5"/>
                </a:solidFill>
              </a:defRPr>
            </a:lvl1pPr>
          </a:lstStyle>
          <a:p>
            <a:fld id="{8EF10DD7-2389-4DF9-BFC9-46E5AD07346D}" type="datetime1">
              <a:rPr lang="en-US" smtClean="0"/>
              <a:t>8/19/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96101" y="6469200"/>
            <a:ext cx="3776537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61688" y="6469200"/>
            <a:ext cx="655512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FED3DC1F-6EDD-4AFC-8429-68AD2C72A611}"/>
              </a:ext>
            </a:extLst>
          </p:cNvPr>
          <p:cNvGrpSpPr/>
          <p:nvPr userDrawn="1"/>
        </p:nvGrpSpPr>
        <p:grpSpPr>
          <a:xfrm>
            <a:off x="574411" y="576001"/>
            <a:ext cx="11042791" cy="5994001"/>
            <a:chOff x="574410" y="575999"/>
            <a:chExt cx="11042791" cy="5994001"/>
          </a:xfrm>
        </p:grpSpPr>
        <p:sp>
          <p:nvSpPr>
            <p:cNvPr id="11" name="S6">
              <a:extLst>
                <a:ext uri="{FF2B5EF4-FFF2-40B4-BE49-F238E27FC236}">
                  <a16:creationId xmlns:a16="http://schemas.microsoft.com/office/drawing/2014/main" id="{B35FD085-677B-4481-8D47-5ABCECB0F2D8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576001" y="6282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2" name="S6">
              <a:extLst>
                <a:ext uri="{FF2B5EF4-FFF2-40B4-BE49-F238E27FC236}">
                  <a16:creationId xmlns:a16="http://schemas.microsoft.com/office/drawing/2014/main" id="{E8A52E1C-48DC-401C-9306-3E0F7413AB3E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74410" y="3716469"/>
              <a:ext cx="11041201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3" name="S6">
              <a:extLst>
                <a:ext uri="{FF2B5EF4-FFF2-40B4-BE49-F238E27FC236}">
                  <a16:creationId xmlns:a16="http://schemas.microsoft.com/office/drawing/2014/main" id="{18617E3D-F17C-47A6-A9FF-3C1D7DFFC0E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576000" y="576000"/>
              <a:ext cx="11039611" cy="1152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4" name="S11">
              <a:extLst>
                <a:ext uri="{FF2B5EF4-FFF2-40B4-BE49-F238E27FC236}">
                  <a16:creationId xmlns:a16="http://schemas.microsoft.com/office/drawing/2014/main" id="{9FC31626-354D-4843-93D2-B68323141ED5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 flipH="1">
              <a:off x="12312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5" name="S11">
              <a:extLst>
                <a:ext uri="{FF2B5EF4-FFF2-40B4-BE49-F238E27FC236}">
                  <a16:creationId xmlns:a16="http://schemas.microsoft.com/office/drawing/2014/main" id="{83E9C906-3B6B-4C48-9DBD-3AD9C113E4BE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 flipH="1">
              <a:off x="21754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6" name="S11">
              <a:extLst>
                <a:ext uri="{FF2B5EF4-FFF2-40B4-BE49-F238E27FC236}">
                  <a16:creationId xmlns:a16="http://schemas.microsoft.com/office/drawing/2014/main" id="{653373A0-257C-42A2-B208-BBC0F9EF891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flipH="1">
              <a:off x="31197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7" name="S11">
              <a:extLst>
                <a:ext uri="{FF2B5EF4-FFF2-40B4-BE49-F238E27FC236}">
                  <a16:creationId xmlns:a16="http://schemas.microsoft.com/office/drawing/2014/main" id="{E0B38116-3A33-4BD1-969E-D8D16DDF008D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 flipH="1">
              <a:off x="40640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8" name="S11">
              <a:extLst>
                <a:ext uri="{FF2B5EF4-FFF2-40B4-BE49-F238E27FC236}">
                  <a16:creationId xmlns:a16="http://schemas.microsoft.com/office/drawing/2014/main" id="{13220C9B-97B9-4F71-A52C-749E79523431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flipH="1">
              <a:off x="50083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9" name="S11">
              <a:extLst>
                <a:ext uri="{FF2B5EF4-FFF2-40B4-BE49-F238E27FC236}">
                  <a16:creationId xmlns:a16="http://schemas.microsoft.com/office/drawing/2014/main" id="{286E0E09-9F91-4AD5-A585-B4B6AC5798C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 flipH="1">
              <a:off x="59526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0" name="S11">
              <a:extLst>
                <a:ext uri="{FF2B5EF4-FFF2-40B4-BE49-F238E27FC236}">
                  <a16:creationId xmlns:a16="http://schemas.microsoft.com/office/drawing/2014/main" id="{52E49D3D-1C59-4539-822F-39FDF315B8E4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flipH="1">
              <a:off x="68968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1" name="S11">
              <a:extLst>
                <a:ext uri="{FF2B5EF4-FFF2-40B4-BE49-F238E27FC236}">
                  <a16:creationId xmlns:a16="http://schemas.microsoft.com/office/drawing/2014/main" id="{D015E50B-CFFC-4416-BE0E-CD22B28FCC87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 flipH="1">
              <a:off x="78411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2" name="S11">
              <a:extLst>
                <a:ext uri="{FF2B5EF4-FFF2-40B4-BE49-F238E27FC236}">
                  <a16:creationId xmlns:a16="http://schemas.microsoft.com/office/drawing/2014/main" id="{D34E1CE3-3748-4C47-9B06-9F67D4C72B2B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flipH="1">
              <a:off x="87854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3" name="S11">
              <a:extLst>
                <a:ext uri="{FF2B5EF4-FFF2-40B4-BE49-F238E27FC236}">
                  <a16:creationId xmlns:a16="http://schemas.microsoft.com/office/drawing/2014/main" id="{57330365-6113-4A1C-8161-63E6C28208E1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 flipH="1">
              <a:off x="97297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4" name="S11">
              <a:extLst>
                <a:ext uri="{FF2B5EF4-FFF2-40B4-BE49-F238E27FC236}">
                  <a16:creationId xmlns:a16="http://schemas.microsoft.com/office/drawing/2014/main" id="{A6C07624-E096-4120-87AA-ADB0125A77E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flipH="1">
              <a:off x="106740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5" name="S6">
              <a:extLst>
                <a:ext uri="{FF2B5EF4-FFF2-40B4-BE49-F238E27FC236}">
                  <a16:creationId xmlns:a16="http://schemas.microsoft.com/office/drawing/2014/main" id="{9A11174D-DEE6-48B8-B2C1-A9B5A66BFA61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576001" y="5994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5" r:id="rId2"/>
    <p:sldLayoutId id="2147483984" r:id="rId3"/>
    <p:sldLayoutId id="2147483983" r:id="rId4"/>
    <p:sldLayoutId id="2147483982" r:id="rId5"/>
    <p:sldLayoutId id="2147483827" r:id="rId6"/>
    <p:sldLayoutId id="2147483743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2pPr>
      <a:lvl3pPr marL="539987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400" b="1" kern="1200">
          <a:solidFill>
            <a:srgbClr val="545859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400" kern="1200">
          <a:solidFill>
            <a:srgbClr val="545859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rgbClr val="545859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0" kern="1200" baseline="0">
          <a:solidFill>
            <a:srgbClr val="545859"/>
          </a:solidFill>
          <a:latin typeface="+mn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​"/>
        <a:defRPr sz="1000" kern="1200">
          <a:solidFill>
            <a:srgbClr val="545859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4800" kern="1200" baseline="0">
          <a:solidFill>
            <a:srgbClr val="545859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341" userDrawn="1">
          <p15:clr>
            <a:srgbClr val="A4A3A4"/>
          </p15:clr>
        </p15:guide>
        <p15:guide id="4" orient="horz" pos="2522" userDrawn="1">
          <p15:clr>
            <a:srgbClr val="A4A3A4"/>
          </p15:clr>
        </p15:guide>
        <p15:guide id="5" pos="363" userDrawn="1">
          <p15:clr>
            <a:srgbClr val="F26B43"/>
          </p15:clr>
        </p15:guide>
        <p15:guide id="6" orient="horz" pos="362" userDrawn="1">
          <p15:clr>
            <a:srgbClr val="F26B43"/>
          </p15:clr>
        </p15:guide>
        <p15:guide id="7" orient="horz" pos="1088" userDrawn="1">
          <p15:clr>
            <a:srgbClr val="F26B43"/>
          </p15:clr>
        </p15:guide>
        <p15:guide id="8" pos="775" userDrawn="1">
          <p15:clr>
            <a:srgbClr val="A4A3A4"/>
          </p15:clr>
        </p15:guide>
        <p15:guide id="9" pos="956" userDrawn="1">
          <p15:clr>
            <a:srgbClr val="A4A3A4"/>
          </p15:clr>
        </p15:guide>
        <p15:guide id="10" orient="horz" pos="3775" userDrawn="1">
          <p15:clr>
            <a:srgbClr val="F26B43"/>
          </p15:clr>
        </p15:guide>
        <p15:guide id="11" pos="1371" userDrawn="1">
          <p15:clr>
            <a:srgbClr val="A4A3A4"/>
          </p15:clr>
        </p15:guide>
        <p15:guide id="12" pos="1551" userDrawn="1">
          <p15:clr>
            <a:srgbClr val="A4A3A4"/>
          </p15:clr>
        </p15:guide>
        <p15:guide id="13" pos="1965" userDrawn="1">
          <p15:clr>
            <a:srgbClr val="A4A3A4"/>
          </p15:clr>
        </p15:guide>
        <p15:guide id="14" pos="2147" userDrawn="1">
          <p15:clr>
            <a:srgbClr val="A4A3A4"/>
          </p15:clr>
        </p15:guide>
        <p15:guide id="15" pos="2560" userDrawn="1">
          <p15:clr>
            <a:srgbClr val="A4A3A4"/>
          </p15:clr>
        </p15:guide>
        <p15:guide id="16" pos="2741" userDrawn="1">
          <p15:clr>
            <a:srgbClr val="A4A3A4"/>
          </p15:clr>
        </p15:guide>
        <p15:guide id="17" pos="3155" userDrawn="1">
          <p15:clr>
            <a:srgbClr val="A4A3A4"/>
          </p15:clr>
        </p15:guide>
        <p15:guide id="18" pos="3336" userDrawn="1">
          <p15:clr>
            <a:srgbClr val="A4A3A4"/>
          </p15:clr>
        </p15:guide>
        <p15:guide id="19" pos="3749" userDrawn="1">
          <p15:clr>
            <a:srgbClr val="A4A3A4"/>
          </p15:clr>
        </p15:guide>
        <p15:guide id="20" pos="3931" userDrawn="1">
          <p15:clr>
            <a:srgbClr val="A4A3A4"/>
          </p15:clr>
        </p15:guide>
        <p15:guide id="21" pos="4344" userDrawn="1">
          <p15:clr>
            <a:srgbClr val="A4A3A4"/>
          </p15:clr>
        </p15:guide>
        <p15:guide id="22" pos="4525" userDrawn="1">
          <p15:clr>
            <a:srgbClr val="A4A3A4"/>
          </p15:clr>
        </p15:guide>
        <p15:guide id="23" pos="4939" userDrawn="1">
          <p15:clr>
            <a:srgbClr val="A4A3A4"/>
          </p15:clr>
        </p15:guide>
        <p15:guide id="24" pos="5120" userDrawn="1">
          <p15:clr>
            <a:srgbClr val="A4A3A4"/>
          </p15:clr>
        </p15:guide>
        <p15:guide id="25" pos="5535" userDrawn="1">
          <p15:clr>
            <a:srgbClr val="A4A3A4"/>
          </p15:clr>
        </p15:guide>
        <p15:guide id="26" pos="5715" userDrawn="1">
          <p15:clr>
            <a:srgbClr val="A4A3A4"/>
          </p15:clr>
        </p15:guide>
        <p15:guide id="27" pos="6128" userDrawn="1">
          <p15:clr>
            <a:srgbClr val="A4A3A4"/>
          </p15:clr>
        </p15:guide>
        <p15:guide id="28" pos="6311" userDrawn="1">
          <p15:clr>
            <a:srgbClr val="A4A3A4"/>
          </p15:clr>
        </p15:guide>
        <p15:guide id="29" pos="6723" userDrawn="1">
          <p15:clr>
            <a:srgbClr val="A4A3A4"/>
          </p15:clr>
        </p15:guide>
        <p15:guide id="30" pos="6905" userDrawn="1">
          <p15:clr>
            <a:srgbClr val="A4A3A4"/>
          </p15:clr>
        </p15:guide>
        <p15:guide id="31" pos="7317" userDrawn="1">
          <p15:clr>
            <a:srgbClr val="F26B43"/>
          </p15:clr>
        </p15:guide>
        <p15:guide id="32" orient="horz" pos="3957" userDrawn="1">
          <p15:clr>
            <a:srgbClr val="F26B43"/>
          </p15:clr>
        </p15:guide>
        <p15:guide id="33" orient="horz" pos="413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2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7.png"/><Relationship Id="rId12" Type="http://schemas.openxmlformats.org/officeDocument/2006/relationships/image" Target="../media/image31.png"/><Relationship Id="rId2" Type="http://schemas.openxmlformats.org/officeDocument/2006/relationships/video" Target="../media/media1.mp4"/><Relationship Id="rId16" Type="http://schemas.openxmlformats.org/officeDocument/2006/relationships/image" Target="../media/image34.png"/><Relationship Id="rId1" Type="http://schemas.microsoft.com/office/2007/relationships/media" Target="../media/media1.mp4"/><Relationship Id="rId6" Type="http://schemas.openxmlformats.org/officeDocument/2006/relationships/image" Target="../media/image26.svg"/><Relationship Id="rId11" Type="http://schemas.openxmlformats.org/officeDocument/2006/relationships/image" Target="../media/image30.svg"/><Relationship Id="rId5" Type="http://schemas.openxmlformats.org/officeDocument/2006/relationships/image" Target="../media/image25.png"/><Relationship Id="rId15" Type="http://schemas.openxmlformats.org/officeDocument/2006/relationships/image" Target="../media/image33.png"/><Relationship Id="rId10" Type="http://schemas.openxmlformats.org/officeDocument/2006/relationships/image" Target="../media/image29.png"/><Relationship Id="rId4" Type="http://schemas.openxmlformats.org/officeDocument/2006/relationships/image" Target="../media/image13.gif"/><Relationship Id="rId9" Type="http://schemas.openxmlformats.org/officeDocument/2006/relationships/image" Target="../media/image9.png"/><Relationship Id="rId1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5.png"/><Relationship Id="rId7" Type="http://schemas.openxmlformats.org/officeDocument/2006/relationships/image" Target="../media/image38.png"/><Relationship Id="rId12" Type="http://schemas.microsoft.com/office/2007/relationships/hdphoto" Target="../media/hdphoto2.wd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png"/><Relationship Id="rId11" Type="http://schemas.openxmlformats.org/officeDocument/2006/relationships/image" Target="../media/image41.png"/><Relationship Id="rId5" Type="http://schemas.openxmlformats.org/officeDocument/2006/relationships/image" Target="../media/image34.png"/><Relationship Id="rId10" Type="http://schemas.microsoft.com/office/2007/relationships/hdphoto" Target="../media/hdphoto1.wdp"/><Relationship Id="rId4" Type="http://schemas.openxmlformats.org/officeDocument/2006/relationships/image" Target="../media/image36.png"/><Relationship Id="rId9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11.png"/><Relationship Id="rId7" Type="http://schemas.openxmlformats.org/officeDocument/2006/relationships/image" Target="../media/image45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5" Type="http://schemas.openxmlformats.org/officeDocument/2006/relationships/image" Target="../media/image43.sv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bin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13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jp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8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omputer screen shot of hexagons&#10;&#10;Description automatically generated">
            <a:extLst>
              <a:ext uri="{FF2B5EF4-FFF2-40B4-BE49-F238E27FC236}">
                <a16:creationId xmlns:a16="http://schemas.microsoft.com/office/drawing/2014/main" id="{7E4024EC-A272-9B26-276C-65D0650E88F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pic>
        <p:nvPicPr>
          <p:cNvPr id="4" name="Picture 3" descr="A logo with a triangle and text&#10;&#10;Description automatically generated">
            <a:extLst>
              <a:ext uri="{FF2B5EF4-FFF2-40B4-BE49-F238E27FC236}">
                <a16:creationId xmlns:a16="http://schemas.microsoft.com/office/drawing/2014/main" id="{5FB1E481-C27F-671E-615C-ACE7B07698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5377" y="5940345"/>
            <a:ext cx="2316061" cy="6745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6FAF4F6-8AFC-D1B4-9E0C-71671A04EBBB}"/>
              </a:ext>
            </a:extLst>
          </p:cNvPr>
          <p:cNvSpPr txBox="1"/>
          <p:nvPr/>
        </p:nvSpPr>
        <p:spPr>
          <a:xfrm>
            <a:off x="9656098" y="6535435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88FC0CA9-D3CF-045F-D4B5-950046CEE5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2007" y="4169229"/>
            <a:ext cx="6756363" cy="1564287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Sambe Consulting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BIOps Presentation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fld id="{77327235-18AC-465A-9DA4-AE0A703CE17A}" type="datetime3">
              <a:rPr lang="en-US" sz="1800" smtClean="0">
                <a:latin typeface="Helvetica" panose="020B0604020202020204" pitchFamily="34" charset="0"/>
                <a:cs typeface="Helvetica" panose="020B0604020202020204" pitchFamily="34" charset="0"/>
              </a:rPr>
              <a:t>19 August 2024</a:t>
            </a:fld>
            <a:endParaRPr lang="en-US" sz="18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23603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D1E70F-3FC9-CB4F-74E4-B9D682A6C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4" name="Picture 3" descr="A cartoon rocket with fire&#10;&#10;Description automatically generated">
            <a:extLst>
              <a:ext uri="{FF2B5EF4-FFF2-40B4-BE49-F238E27FC236}">
                <a16:creationId xmlns:a16="http://schemas.microsoft.com/office/drawing/2014/main" id="{F849C212-2360-25ED-7D8F-46C1E0E61E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6091">
            <a:off x="2114556" y="3963481"/>
            <a:ext cx="562452" cy="54048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007AD62E-DEA2-A6E0-BF85-B933714C1B2A}"/>
              </a:ext>
            </a:extLst>
          </p:cNvPr>
          <p:cNvGrpSpPr/>
          <p:nvPr/>
        </p:nvGrpSpPr>
        <p:grpSpPr>
          <a:xfrm>
            <a:off x="4934206" y="1870352"/>
            <a:ext cx="2932658" cy="2932658"/>
            <a:chOff x="9089517" y="747608"/>
            <a:chExt cx="2932658" cy="2932658"/>
          </a:xfrm>
        </p:grpSpPr>
        <p:pic>
          <p:nvPicPr>
            <p:cNvPr id="6" name="Graphic 5" descr="Cloud with solid fill">
              <a:extLst>
                <a:ext uri="{FF2B5EF4-FFF2-40B4-BE49-F238E27FC236}">
                  <a16:creationId xmlns:a16="http://schemas.microsoft.com/office/drawing/2014/main" id="{1CC53497-B684-802E-FC01-B15094221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089517" y="747608"/>
              <a:ext cx="2932658" cy="2932658"/>
            </a:xfrm>
            <a:prstGeom prst="rect">
              <a:avLst/>
            </a:prstGeom>
          </p:spPr>
        </p:pic>
        <p:pic>
          <p:nvPicPr>
            <p:cNvPr id="7" name="Picture 6" descr="A green and blue logo&#10;&#10;Description automatically generated">
              <a:extLst>
                <a:ext uri="{FF2B5EF4-FFF2-40B4-BE49-F238E27FC236}">
                  <a16:creationId xmlns:a16="http://schemas.microsoft.com/office/drawing/2014/main" id="{E4A8231F-593F-0B64-4508-204212F421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5449" y="2155097"/>
              <a:ext cx="687779" cy="687779"/>
            </a:xfrm>
            <a:prstGeom prst="rect">
              <a:avLst/>
            </a:prstGeom>
          </p:spPr>
        </p:pic>
        <p:pic>
          <p:nvPicPr>
            <p:cNvPr id="8" name="Picture 7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3849A6E7-EB71-738E-8E57-882775641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5681" y="2086854"/>
              <a:ext cx="824264" cy="824264"/>
            </a:xfrm>
            <a:prstGeom prst="rect">
              <a:avLst/>
            </a:prstGeom>
          </p:spPr>
        </p:pic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1D4C1D4-342D-BD94-FD2D-EE0D5A1AAD98}"/>
              </a:ext>
            </a:extLst>
          </p:cNvPr>
          <p:cNvSpPr/>
          <p:nvPr/>
        </p:nvSpPr>
        <p:spPr>
          <a:xfrm>
            <a:off x="5510138" y="3209598"/>
            <a:ext cx="1654496" cy="8242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10" name="Picture 9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903AFDD9-59D5-1E81-5774-75BE9FF2B99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9494" y="3493904"/>
            <a:ext cx="446281" cy="446281"/>
          </a:xfrm>
          <a:prstGeom prst="rect">
            <a:avLst/>
          </a:prstGeom>
        </p:spPr>
      </p:pic>
      <p:pic>
        <p:nvPicPr>
          <p:cNvPr id="11" name="Picture 10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8A6FF261-F45E-0AA3-7E9A-E9C580C5F2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645" y="3048021"/>
            <a:ext cx="878485" cy="878485"/>
          </a:xfrm>
          <a:prstGeom prst="rect">
            <a:avLst/>
          </a:prstGeom>
        </p:spPr>
      </p:pic>
      <p:pic>
        <p:nvPicPr>
          <p:cNvPr id="12" name="Graphic 11" descr="Badge Tick1 with solid fill">
            <a:extLst>
              <a:ext uri="{FF2B5EF4-FFF2-40B4-BE49-F238E27FC236}">
                <a16:creationId xmlns:a16="http://schemas.microsoft.com/office/drawing/2014/main" id="{76A2087E-B959-6068-A339-91B3366917E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664130" y="3293484"/>
            <a:ext cx="672136" cy="672136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1622F93-6E38-0E12-1657-A7850660B457}"/>
              </a:ext>
            </a:extLst>
          </p:cNvPr>
          <p:cNvGrpSpPr/>
          <p:nvPr/>
        </p:nvGrpSpPr>
        <p:grpSpPr>
          <a:xfrm>
            <a:off x="812701" y="3652850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D1CE7A05-61EC-C321-5B23-CEC2CD9F547A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16" name="Picture 15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7C86885D-B0E7-BD16-4647-1212DE15874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037B5FB-B4C1-AE2E-79DF-64967F9F859E}"/>
              </a:ext>
            </a:extLst>
          </p:cNvPr>
          <p:cNvSpPr/>
          <p:nvPr/>
        </p:nvSpPr>
        <p:spPr>
          <a:xfrm>
            <a:off x="-198262" y="4021631"/>
            <a:ext cx="1110002" cy="191554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31696D-30B3-50F8-2719-8205E47B327E}"/>
              </a:ext>
            </a:extLst>
          </p:cNvPr>
          <p:cNvSpPr txBox="1">
            <a:spLocks/>
          </p:cNvSpPr>
          <p:nvPr/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Workflow (cont.)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2CCD4D9-7CAA-0E2E-53D2-DCDC635954F7}"/>
              </a:ext>
            </a:extLst>
          </p:cNvPr>
          <p:cNvSpPr/>
          <p:nvPr/>
        </p:nvSpPr>
        <p:spPr>
          <a:xfrm>
            <a:off x="1570565" y="4021631"/>
            <a:ext cx="1186182" cy="191554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A57CD67-F048-9FBA-318F-8939F7AE617A}"/>
              </a:ext>
            </a:extLst>
          </p:cNvPr>
          <p:cNvGrpSpPr/>
          <p:nvPr/>
        </p:nvGrpSpPr>
        <p:grpSpPr>
          <a:xfrm>
            <a:off x="2678228" y="3652850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AD2F19A-625A-4A45-00F4-B6930DB16272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0" name="Picture 19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E861E4DF-650E-1C92-103A-ECBFB0E7F41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pic>
        <p:nvPicPr>
          <p:cNvPr id="21" name="Picture 20" descr="A cartoon rocket with fire&#10;&#10;Description automatically generated">
            <a:extLst>
              <a:ext uri="{FF2B5EF4-FFF2-40B4-BE49-F238E27FC236}">
                <a16:creationId xmlns:a16="http://schemas.microsoft.com/office/drawing/2014/main" id="{28C4125C-099F-85BF-C8E1-AF4EE16464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6091">
            <a:off x="3742672" y="3868905"/>
            <a:ext cx="562452" cy="540481"/>
          </a:xfrm>
          <a:prstGeom prst="rect">
            <a:avLst/>
          </a:prstGeom>
        </p:spPr>
      </p:pic>
      <p:pic>
        <p:nvPicPr>
          <p:cNvPr id="22" name="Picture 21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9D5CCDC8-920B-3077-DF79-1A5913DFBBB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7610" y="3399328"/>
            <a:ext cx="446281" cy="446281"/>
          </a:xfrm>
          <a:prstGeom prst="rect">
            <a:avLst/>
          </a:prstGeom>
        </p:spPr>
      </p:pic>
      <p:sp>
        <p:nvSpPr>
          <p:cNvPr id="24" name="Oval 23">
            <a:extLst>
              <a:ext uri="{FF2B5EF4-FFF2-40B4-BE49-F238E27FC236}">
                <a16:creationId xmlns:a16="http://schemas.microsoft.com/office/drawing/2014/main" id="{8D64D44D-A169-2E4C-C46F-DFF61DCB33CC}"/>
              </a:ext>
            </a:extLst>
          </p:cNvPr>
          <p:cNvSpPr/>
          <p:nvPr/>
        </p:nvSpPr>
        <p:spPr>
          <a:xfrm>
            <a:off x="6684182" y="3327714"/>
            <a:ext cx="583764" cy="60108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26" name="Graphic 25" descr="Arrow circle with solid fill">
            <a:extLst>
              <a:ext uri="{FF2B5EF4-FFF2-40B4-BE49-F238E27FC236}">
                <a16:creationId xmlns:a16="http://schemas.microsoft.com/office/drawing/2014/main" id="{813F8986-B6E6-4CF4-F55D-5D524051D8C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604401" y="3242268"/>
            <a:ext cx="791594" cy="791594"/>
          </a:xfrm>
          <a:prstGeom prst="rect">
            <a:avLst/>
          </a:prstGeom>
        </p:spPr>
      </p:pic>
      <p:pic>
        <p:nvPicPr>
          <p:cNvPr id="29" name="Picture 28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BFC208A2-F643-D755-A255-528A6829006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11" y="1145053"/>
            <a:ext cx="851732" cy="85173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6572AA39-7BA5-104B-E4C8-56406B70DE46}"/>
              </a:ext>
            </a:extLst>
          </p:cNvPr>
          <p:cNvSpPr txBox="1"/>
          <p:nvPr/>
        </p:nvSpPr>
        <p:spPr>
          <a:xfrm>
            <a:off x="1367162" y="1360176"/>
            <a:ext cx="2140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ysClr val="windowText" lastClr="000000"/>
                </a:solidFill>
              </a:rPr>
              <a:t>CD Pipeline</a:t>
            </a:r>
            <a:endParaRPr lang="en-ZA" sz="2800" b="1" dirty="0" err="1">
              <a:solidFill>
                <a:sysClr val="windowText" lastClr="000000"/>
              </a:solidFill>
            </a:endParaRPr>
          </a:p>
        </p:txBody>
      </p:sp>
      <p:pic>
        <p:nvPicPr>
          <p:cNvPr id="31" name="3209211-uhd_3840_2160_25fps">
            <a:hlinkClick r:id="" action="ppaction://media"/>
            <a:extLst>
              <a:ext uri="{FF2B5EF4-FFF2-40B4-BE49-F238E27FC236}">
                <a16:creationId xmlns:a16="http://schemas.microsoft.com/office/drawing/2014/main" id="{51EBAD17-BDE9-0038-B871-237F8AC614A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8471111" y="2623429"/>
            <a:ext cx="3146425" cy="1769864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32" name="Arrow: Right 31">
            <a:extLst>
              <a:ext uri="{FF2B5EF4-FFF2-40B4-BE49-F238E27FC236}">
                <a16:creationId xmlns:a16="http://schemas.microsoft.com/office/drawing/2014/main" id="{DC24C1E1-972A-DBD0-F9BC-CC0C7AFB36EB}"/>
              </a:ext>
            </a:extLst>
          </p:cNvPr>
          <p:cNvSpPr/>
          <p:nvPr/>
        </p:nvSpPr>
        <p:spPr>
          <a:xfrm>
            <a:off x="7333835" y="2854669"/>
            <a:ext cx="914029" cy="223305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D95361C-7D3D-9392-0419-4CB2740D09E0}"/>
              </a:ext>
            </a:extLst>
          </p:cNvPr>
          <p:cNvSpPr/>
          <p:nvPr/>
        </p:nvSpPr>
        <p:spPr>
          <a:xfrm>
            <a:off x="35447" y="3448346"/>
            <a:ext cx="792508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000" b="1" noProof="0" dirty="0">
                <a:solidFill>
                  <a:schemeClr val="tx1"/>
                </a:solidFill>
              </a:rPr>
              <a:t>Main</a:t>
            </a:r>
            <a:endParaRPr lang="en-ZA" sz="2000" b="1" noProof="0" dirty="0" err="1">
              <a:solidFill>
                <a:schemeClr val="tx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6E058235-651F-FFA2-66CD-B6C51E161674}"/>
              </a:ext>
            </a:extLst>
          </p:cNvPr>
          <p:cNvSpPr/>
          <p:nvPr/>
        </p:nvSpPr>
        <p:spPr>
          <a:xfrm>
            <a:off x="5087591" y="4233721"/>
            <a:ext cx="2695103" cy="54352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Power BI Service</a:t>
            </a:r>
            <a:endParaRPr lang="en-ZA" sz="2400" b="1" noProof="0" dirty="0" err="1">
              <a:solidFill>
                <a:schemeClr val="tx1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11BAD49-60CF-F833-EFC1-066C51E9B25B}"/>
              </a:ext>
            </a:extLst>
          </p:cNvPr>
          <p:cNvSpPr/>
          <p:nvPr/>
        </p:nvSpPr>
        <p:spPr>
          <a:xfrm>
            <a:off x="9419360" y="1996786"/>
            <a:ext cx="1249926" cy="46080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400" b="1" noProof="0" dirty="0">
                <a:solidFill>
                  <a:schemeClr val="tx1"/>
                </a:solidFill>
              </a:rPr>
              <a:t>Client</a:t>
            </a:r>
            <a:endParaRPr lang="en-ZA" sz="2400" b="1" noProof="0" dirty="0" err="1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D0B7EFB3-87C3-2884-2D5D-D92348B4B4D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063" y="4767113"/>
            <a:ext cx="1844198" cy="103485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30B3977-AD56-0AD8-4973-8C08868F39FD}"/>
              </a:ext>
            </a:extLst>
          </p:cNvPr>
          <p:cNvCxnSpPr>
            <a:stCxn id="19" idx="6"/>
          </p:cNvCxnSpPr>
          <p:nvPr/>
        </p:nvCxnSpPr>
        <p:spPr>
          <a:xfrm flipV="1">
            <a:off x="3667055" y="3784351"/>
            <a:ext cx="1492086" cy="336332"/>
          </a:xfrm>
          <a:prstGeom prst="line">
            <a:avLst/>
          </a:prstGeom>
          <a:ln w="762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397697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500"/>
                            </p:stCondLst>
                            <p:childTnLst>
                              <p:par>
                                <p:cTn id="42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1.11111E-6 L 0.19779 -0.06713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83" y="-33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85185E-6 L 0.19688 -0.06505 " pathEditMode="relative" rAng="0" ptsTypes="AA">
                                      <p:cBhvr>
                                        <p:cTn id="4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44" y="-326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500"/>
                            </p:stCondLst>
                            <p:childTnLst>
                              <p:par>
                                <p:cTn id="4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500"/>
                            </p:stCondLst>
                            <p:childTnLst>
                              <p:par>
                                <p:cTn id="50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688 -0.06505 L 0.25873 -0.06505 C 0.28659 -0.06505 0.32097 -0.05 0.32097 -0.03773 L 0.32097 -0.00996 " pathEditMode="relative" rAng="0" ptsTypes="AAAA">
                                      <p:cBhvr>
                                        <p:cTn id="51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98" y="27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500"/>
                            </p:stCondLst>
                            <p:childTnLst>
                              <p:par>
                                <p:cTn id="5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0"/>
                            </p:stCondLst>
                            <p:childTnLst>
                              <p:par>
                                <p:cTn id="6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1.85185E-6 L 0.14531 0.00139 " pathEditMode="relative" rAng="0" ptsTypes="AA">
                                      <p:cBhvr>
                                        <p:cTn id="71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66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6500"/>
                            </p:stCondLst>
                            <p:childTnLst>
                              <p:par>
                                <p:cTn id="7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-2.22222E-6 L 0.07682 -0.02361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41" y="-1181"/>
                                    </p:animMotion>
                                  </p:childTnLst>
                                </p:cTn>
                              </p:par>
                              <p:par>
                                <p:cTn id="8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7.40741E-7 L 0.12877 -0.04236 " pathEditMode="relative" rAng="0" ptsTypes="AA">
                                      <p:cBhvr>
                                        <p:cTn id="8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432" y="-21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7500"/>
                            </p:stCondLst>
                            <p:childTnLst>
                              <p:par>
                                <p:cTn id="87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2877 -0.04236 L 0.16731 -0.04236 C 0.18515 -0.04236 0.20781 -0.03403 0.20781 -0.02708 L 0.20781 -0.01088 " pathEditMode="relative" rAng="0" ptsTypes="AAAA">
                                      <p:cBhvr>
                                        <p:cTn id="88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45" y="1574"/>
                                    </p:animMotion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9500"/>
                            </p:stCondLst>
                            <p:childTnLst>
                              <p:par>
                                <p:cTn id="9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3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2500"/>
                            </p:stCondLst>
                            <p:childTnLst>
                              <p:par>
                                <p:cTn id="111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1" dur="13280" fill="hold"/>
                                        <p:tgtEl>
                                          <p:spTgt spid="3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28" fill="hold" display="0">
                  <p:stCondLst>
                    <p:cond delay="indefinite"/>
                  </p:stCondLst>
                </p:cTn>
                <p:tgtEl>
                  <p:spTgt spid="31"/>
                </p:tgtEl>
              </p:cMediaNode>
            </p:video>
          </p:childTnLst>
        </p:cTn>
      </p:par>
    </p:tnLst>
    <p:bldLst>
      <p:bldP spid="9" grpId="0" animBg="1"/>
      <p:bldP spid="17" grpId="0" animBg="1"/>
      <p:bldP spid="13" grpId="0" animBg="1"/>
      <p:bldP spid="24" grpId="0" animBg="1"/>
      <p:bldP spid="24" grpId="1" animBg="1"/>
      <p:bldP spid="24" grpId="2" animBg="1"/>
      <p:bldP spid="30" grpId="0"/>
      <p:bldP spid="32" grpId="0" animBg="1"/>
      <p:bldP spid="23" grpId="0" animBg="1"/>
      <p:bldP spid="25" grpId="0" animBg="1"/>
      <p:bldP spid="3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Sequence of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Rivashan Govender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5055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1B109619-00F1-E783-17B6-57D6B6E91F4B}"/>
              </a:ext>
            </a:extLst>
          </p:cNvPr>
          <p:cNvSpPr/>
          <p:nvPr/>
        </p:nvSpPr>
        <p:spPr>
          <a:xfrm>
            <a:off x="2242691" y="1340279"/>
            <a:ext cx="1571542" cy="420374"/>
          </a:xfrm>
          <a:prstGeom prst="rect">
            <a:avLst/>
          </a:prstGeom>
          <a:gradFill>
            <a:gsLst>
              <a:gs pos="46000">
                <a:srgbClr val="82FE2E"/>
              </a:gs>
              <a:gs pos="95000">
                <a:schemeClr val="bg1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3702BDF-F12A-2FD9-BB7E-FF56A9805B05}"/>
              </a:ext>
            </a:extLst>
          </p:cNvPr>
          <p:cNvSpPr/>
          <p:nvPr/>
        </p:nvSpPr>
        <p:spPr>
          <a:xfrm>
            <a:off x="7734097" y="1340076"/>
            <a:ext cx="3862314" cy="430867"/>
          </a:xfrm>
          <a:prstGeom prst="roundRect">
            <a:avLst/>
          </a:prstGeom>
          <a:gradFill flip="none" rotWithShape="1">
            <a:gsLst>
              <a:gs pos="0">
                <a:srgbClr val="82FE2E"/>
              </a:gs>
              <a:gs pos="73000">
                <a:srgbClr val="8CADFE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CE776D5-39D9-9CEE-1921-17852687DF24}"/>
              </a:ext>
            </a:extLst>
          </p:cNvPr>
          <p:cNvSpPr/>
          <p:nvPr/>
        </p:nvSpPr>
        <p:spPr>
          <a:xfrm>
            <a:off x="3680864" y="1340575"/>
            <a:ext cx="1366345" cy="420374"/>
          </a:xfrm>
          <a:prstGeom prst="roundRect">
            <a:avLst/>
          </a:prstGeom>
          <a:gradFill>
            <a:gsLst>
              <a:gs pos="0">
                <a:srgbClr val="49D778"/>
              </a:gs>
              <a:gs pos="78000">
                <a:srgbClr val="82FE2E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825D293-2320-DF93-A0FB-CE8B5FB3EBD1}"/>
              </a:ext>
            </a:extLst>
          </p:cNvPr>
          <p:cNvSpPr txBox="1">
            <a:spLocks/>
          </p:cNvSpPr>
          <p:nvPr/>
        </p:nvSpPr>
        <p:spPr>
          <a:xfrm>
            <a:off x="2518233" y="1371846"/>
            <a:ext cx="2591999" cy="44285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chemeClr val="tx1"/>
                </a:solidFill>
                <a:latin typeface="+mn-lt"/>
                <a:cs typeface="Helvetica" panose="020B0604020202020204" pitchFamily="34" charset="0"/>
              </a:rPr>
              <a:t>Version Control</a:t>
            </a:r>
          </a:p>
        </p:txBody>
      </p:sp>
      <p:pic>
        <p:nvPicPr>
          <p:cNvPr id="6" name="Picture 5" descr="A blue logo on a white background&#10;&#10;Description automatically generated">
            <a:extLst>
              <a:ext uri="{FF2B5EF4-FFF2-40B4-BE49-F238E27FC236}">
                <a16:creationId xmlns:a16="http://schemas.microsoft.com/office/drawing/2014/main" id="{0ECA982E-16CF-F736-1E82-5782CD552B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2987" y="2762083"/>
            <a:ext cx="1466662" cy="1466662"/>
          </a:xfrm>
          <a:prstGeom prst="rect">
            <a:avLst/>
          </a:prstGeom>
        </p:spPr>
      </p:pic>
      <p:pic>
        <p:nvPicPr>
          <p:cNvPr id="9" name="Picture 8" descr="A computer screen with a yellow circle and a green tick&#10;&#10;Description automatically generated">
            <a:extLst>
              <a:ext uri="{FF2B5EF4-FFF2-40B4-BE49-F238E27FC236}">
                <a16:creationId xmlns:a16="http://schemas.microsoft.com/office/drawing/2014/main" id="{572330BC-74FE-7745-EA4D-15B31AD386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045" y="2682415"/>
            <a:ext cx="1590675" cy="17811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799F3B1-C832-0129-9A46-894DAE2DEA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9963" y="2734878"/>
            <a:ext cx="2987207" cy="1676250"/>
          </a:xfrm>
          <a:prstGeom prst="rect">
            <a:avLst/>
          </a:prstGeom>
        </p:spPr>
      </p:pic>
      <p:pic>
        <p:nvPicPr>
          <p:cNvPr id="19" name="Picture 18" descr="A logo of a company&#10;&#10;Description automatically generated">
            <a:extLst>
              <a:ext uri="{FF2B5EF4-FFF2-40B4-BE49-F238E27FC236}">
                <a16:creationId xmlns:a16="http://schemas.microsoft.com/office/drawing/2014/main" id="{8D678859-A853-2FAB-1F04-66F46FB7B9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7201" y="2579700"/>
            <a:ext cx="1831428" cy="1831428"/>
          </a:xfrm>
          <a:prstGeom prst="rect">
            <a:avLst/>
          </a:prstGeom>
        </p:spPr>
      </p:pic>
      <p:pic>
        <p:nvPicPr>
          <p:cNvPr id="21" name="Picture 20" descr="A blue and green logo&#10;&#10;Description automatically generated">
            <a:extLst>
              <a:ext uri="{FF2B5EF4-FFF2-40B4-BE49-F238E27FC236}">
                <a16:creationId xmlns:a16="http://schemas.microsoft.com/office/drawing/2014/main" id="{F94087DA-7C4A-67B7-85F5-5EBE78D291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9014" y="2171578"/>
            <a:ext cx="889195" cy="632442"/>
          </a:xfrm>
          <a:prstGeom prst="rect">
            <a:avLst/>
          </a:prstGeom>
        </p:spPr>
      </p:pic>
      <p:pic>
        <p:nvPicPr>
          <p:cNvPr id="25" name="Picture 24" descr="A yellow rectangular shapes on a black background&#10;&#10;Description automatically generated">
            <a:extLst>
              <a:ext uri="{FF2B5EF4-FFF2-40B4-BE49-F238E27FC236}">
                <a16:creationId xmlns:a16="http://schemas.microsoft.com/office/drawing/2014/main" id="{F63E02D8-29C2-051E-0DD8-F47D0EAF46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3113" y="3869390"/>
            <a:ext cx="1590676" cy="894755"/>
          </a:xfrm>
          <a:prstGeom prst="rect">
            <a:avLst/>
          </a:prstGeom>
        </p:spPr>
      </p:pic>
      <p:sp>
        <p:nvSpPr>
          <p:cNvPr id="26" name="Arrow: Right 25">
            <a:extLst>
              <a:ext uri="{FF2B5EF4-FFF2-40B4-BE49-F238E27FC236}">
                <a16:creationId xmlns:a16="http://schemas.microsoft.com/office/drawing/2014/main" id="{967522E5-196D-01E4-69C6-81438EFC0AB5}"/>
              </a:ext>
            </a:extLst>
          </p:cNvPr>
          <p:cNvSpPr/>
          <p:nvPr/>
        </p:nvSpPr>
        <p:spPr>
          <a:xfrm>
            <a:off x="1816366" y="3316738"/>
            <a:ext cx="882928" cy="357352"/>
          </a:xfrm>
          <a:prstGeom prst="rightArrow">
            <a:avLst/>
          </a:prstGeom>
          <a:gradFill flip="none" rotWithShape="1">
            <a:gsLst>
              <a:gs pos="32000">
                <a:schemeClr val="bg1">
                  <a:lumMod val="8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B3DE9B2-E66E-25E2-8022-5AA0C02D9767}"/>
              </a:ext>
            </a:extLst>
          </p:cNvPr>
          <p:cNvSpPr/>
          <p:nvPr/>
        </p:nvSpPr>
        <p:spPr>
          <a:xfrm>
            <a:off x="4423210" y="3315708"/>
            <a:ext cx="882928" cy="357352"/>
          </a:xfrm>
          <a:prstGeom prst="rightArrow">
            <a:avLst/>
          </a:prstGeom>
          <a:gradFill flip="none" rotWithShape="1">
            <a:gsLst>
              <a:gs pos="32000">
                <a:schemeClr val="bg1">
                  <a:lumMod val="8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1B62F318-7FC4-CFA5-B661-1E8E17D9E340}"/>
              </a:ext>
            </a:extLst>
          </p:cNvPr>
          <p:cNvSpPr/>
          <p:nvPr/>
        </p:nvSpPr>
        <p:spPr>
          <a:xfrm>
            <a:off x="8897549" y="3315708"/>
            <a:ext cx="882928" cy="357352"/>
          </a:xfrm>
          <a:prstGeom prst="rightArrow">
            <a:avLst/>
          </a:prstGeom>
          <a:gradFill flip="none" rotWithShape="1">
            <a:gsLst>
              <a:gs pos="32000">
                <a:schemeClr val="bg1">
                  <a:lumMod val="8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pic>
        <p:nvPicPr>
          <p:cNvPr id="30" name="Picture 29" descr="A black and white symbol&#10;&#10;Description automatically generated">
            <a:extLst>
              <a:ext uri="{FF2B5EF4-FFF2-40B4-BE49-F238E27FC236}">
                <a16:creationId xmlns:a16="http://schemas.microsoft.com/office/drawing/2014/main" id="{20870E54-E4C7-64D3-5CF9-B57DEFD0A4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366" y="2734878"/>
            <a:ext cx="667135" cy="66713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F2263DD-C994-6957-43AB-0C96DB50C6F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34" y="2731702"/>
            <a:ext cx="667136" cy="66713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846ACBC-45C0-AEC0-B6E2-1D56BBA09174}"/>
              </a:ext>
            </a:extLst>
          </p:cNvPr>
          <p:cNvSpPr txBox="1"/>
          <p:nvPr/>
        </p:nvSpPr>
        <p:spPr>
          <a:xfrm>
            <a:off x="7797120" y="1321187"/>
            <a:ext cx="3819379" cy="430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ZA" sz="2800" dirty="0">
                <a:ea typeface="+mj-ea"/>
                <a:cs typeface="Helvetica" panose="020B0604020202020204" pitchFamily="34" charset="0"/>
              </a:rPr>
              <a:t>Deployment</a:t>
            </a:r>
            <a:r>
              <a:rPr lang="en-ZA" sz="2800" dirty="0">
                <a:solidFill>
                  <a:schemeClr val="tx2"/>
                </a:solidFill>
              </a:rPr>
              <a:t> Autom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7FFC582-4BBE-C09A-A01A-2034D5BAD624}"/>
              </a:ext>
            </a:extLst>
          </p:cNvPr>
          <p:cNvSpPr/>
          <p:nvPr/>
        </p:nvSpPr>
        <p:spPr>
          <a:xfrm>
            <a:off x="96522" y="1977386"/>
            <a:ext cx="6540500" cy="45719"/>
          </a:xfrm>
          <a:prstGeom prst="rect">
            <a:avLst/>
          </a:prstGeom>
          <a:gradFill flip="none" rotWithShape="1">
            <a:gsLst>
              <a:gs pos="65000">
                <a:srgbClr val="27B357"/>
              </a:gs>
              <a:gs pos="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622DFF-B485-9B17-060C-DCCBA0AD2FB7}"/>
              </a:ext>
            </a:extLst>
          </p:cNvPr>
          <p:cNvSpPr/>
          <p:nvPr/>
        </p:nvSpPr>
        <p:spPr>
          <a:xfrm>
            <a:off x="6637022" y="1977202"/>
            <a:ext cx="5458456" cy="45719"/>
          </a:xfrm>
          <a:prstGeom prst="rect">
            <a:avLst/>
          </a:prstGeom>
          <a:gradFill flip="none" rotWithShape="1">
            <a:gsLst>
              <a:gs pos="0">
                <a:srgbClr val="27B357"/>
              </a:gs>
              <a:gs pos="100000">
                <a:srgbClr val="5988FD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</p:spTree>
    <p:extLst>
      <p:ext uri="{BB962C8B-B14F-4D97-AF65-F5344CB8AC3E}">
        <p14:creationId xmlns:p14="http://schemas.microsoft.com/office/powerpoint/2010/main" val="3216726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C0C0C"/>
                                      </p:to>
                                    </p:animClr>
                                    <p:set>
                                      <p:cBhvr>
                                        <p:cTn id="10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4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seq concurrent="1" nextAc="seek">
              <p:cTn id="15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6" fill="hold">
                      <p:stCondLst>
                        <p:cond delay="0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5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C0C0C"/>
                                      </p:to>
                                    </p:animClr>
                                    <p:set>
                                      <p:cBhvr>
                                        <p:cTn id="26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7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  <p:seq concurrent="1" nextAc="seek">
              <p:cTn id="28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9" fill="hold">
                      <p:stCondLst>
                        <p:cond delay="0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5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C0C0C"/>
                                      </p:to>
                                    </p:animClr>
                                    <p:set>
                                      <p:cBhvr>
                                        <p:cTn id="36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7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</p:childTnLst>
        </p:cTn>
      </p:par>
    </p:tnLst>
    <p:bldLst>
      <p:bldP spid="23" grpId="0" animBg="1"/>
      <p:bldP spid="16" grpId="0" animBg="1"/>
      <p:bldP spid="15" grpId="0" animBg="1"/>
      <p:bldP spid="26" grpId="0" animBg="1"/>
      <p:bldP spid="27" grpId="0" animBg="1"/>
      <p:bldP spid="2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BIOps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Chosen Ones Graduate Team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2425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7F5FD30C-87C3-EF60-E0BE-F08CB3181E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14C2CB-27CB-73E7-B3CB-55B264FF748C}"/>
              </a:ext>
            </a:extLst>
          </p:cNvPr>
          <p:cNvSpPr txBox="1"/>
          <p:nvPr/>
        </p:nvSpPr>
        <p:spPr>
          <a:xfrm>
            <a:off x="9396159" y="6476426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pic>
        <p:nvPicPr>
          <p:cNvPr id="8" name="Picture 7" descr="A logo on a black background&#10;&#10;Description automatically generated">
            <a:extLst>
              <a:ext uri="{FF2B5EF4-FFF2-40B4-BE49-F238E27FC236}">
                <a16:creationId xmlns:a16="http://schemas.microsoft.com/office/drawing/2014/main" id="{D92AAFBC-8451-B1DD-BE4C-CC7FB503947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pic>
        <p:nvPicPr>
          <p:cNvPr id="11" name="Graphic 10" descr="Receiver with solid fill">
            <a:extLst>
              <a:ext uri="{FF2B5EF4-FFF2-40B4-BE49-F238E27FC236}">
                <a16:creationId xmlns:a16="http://schemas.microsoft.com/office/drawing/2014/main" id="{371804D6-B8D3-4F18-5284-0384A39F187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60" y="4236474"/>
            <a:ext cx="219629" cy="219629"/>
          </a:xfrm>
          <a:prstGeom prst="rect">
            <a:avLst/>
          </a:prstGeom>
        </p:spPr>
      </p:pic>
      <p:pic>
        <p:nvPicPr>
          <p:cNvPr id="12" name="Graphic 11" descr="Open envelope with solid fill">
            <a:extLst>
              <a:ext uri="{FF2B5EF4-FFF2-40B4-BE49-F238E27FC236}">
                <a16:creationId xmlns:a16="http://schemas.microsoft.com/office/drawing/2014/main" id="{371486EE-9E29-E1B7-E06B-66D387F7C28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593347"/>
            <a:ext cx="242977" cy="242977"/>
          </a:xfrm>
          <a:prstGeom prst="rect">
            <a:avLst/>
          </a:prstGeom>
        </p:spPr>
      </p:pic>
      <p:pic>
        <p:nvPicPr>
          <p:cNvPr id="16" name="Graphic 15" descr="Internet with solid fill">
            <a:extLst>
              <a:ext uri="{FF2B5EF4-FFF2-40B4-BE49-F238E27FC236}">
                <a16:creationId xmlns:a16="http://schemas.microsoft.com/office/drawing/2014/main" id="{08B29742-FB68-00EF-2D74-9CD56513670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837" y="5322608"/>
            <a:ext cx="330274" cy="330274"/>
          </a:xfrm>
          <a:prstGeom prst="rect">
            <a:avLst/>
          </a:prstGeom>
        </p:spPr>
      </p:pic>
      <p:pic>
        <p:nvPicPr>
          <p:cNvPr id="17" name="Graphic 16" descr="Open envelope with solid fill">
            <a:extLst>
              <a:ext uri="{FF2B5EF4-FFF2-40B4-BE49-F238E27FC236}">
                <a16:creationId xmlns:a16="http://schemas.microsoft.com/office/drawing/2014/main" id="{0DD8DBEF-0461-77D9-6C06-4FB3FBF378D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985181"/>
            <a:ext cx="242977" cy="242977"/>
          </a:xfrm>
          <a:prstGeom prst="rect">
            <a:avLst/>
          </a:prstGeom>
        </p:spPr>
      </p:pic>
      <p:pic>
        <p:nvPicPr>
          <p:cNvPr id="18" name="Graphic 17" descr="Marker with solid fill">
            <a:extLst>
              <a:ext uri="{FF2B5EF4-FFF2-40B4-BE49-F238E27FC236}">
                <a16:creationId xmlns:a16="http://schemas.microsoft.com/office/drawing/2014/main" id="{EF2B48E0-AB0F-7675-6C8B-64DC3AD26286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6867" y="5681935"/>
            <a:ext cx="356214" cy="356214"/>
          </a:xfrm>
          <a:prstGeom prst="rect">
            <a:avLst/>
          </a:prstGeom>
        </p:spPr>
      </p:pic>
      <p:sp>
        <p:nvSpPr>
          <p:cNvPr id="13" name="Title 5">
            <a:extLst>
              <a:ext uri="{FF2B5EF4-FFF2-40B4-BE49-F238E27FC236}">
                <a16:creationId xmlns:a16="http://schemas.microsoft.com/office/drawing/2014/main" id="{71486BB3-47AD-E215-8B47-83D91EB867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6463" y="2167767"/>
            <a:ext cx="2594569" cy="535304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Thank 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CADB0C-B8A0-A412-63A1-EA7E8A322AAA}"/>
              </a:ext>
            </a:extLst>
          </p:cNvPr>
          <p:cNvSpPr txBox="1"/>
          <p:nvPr/>
        </p:nvSpPr>
        <p:spPr>
          <a:xfrm>
            <a:off x="383081" y="2985249"/>
            <a:ext cx="5075817" cy="2683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hosen Ones </a:t>
            </a:r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– Sambe Consulting </a:t>
            </a:r>
          </a:p>
          <a:p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2024 Graduates</a:t>
            </a:r>
          </a:p>
          <a:p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Aft>
                <a:spcPts val="100"/>
              </a:spcAft>
            </a:pPr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info@sambeconsulting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1 Maxwell Drive, Woodmead, Sandton, 2191</a:t>
            </a:r>
          </a:p>
        </p:txBody>
      </p:sp>
    </p:spTree>
    <p:extLst>
      <p:ext uri="{BB962C8B-B14F-4D97-AF65-F5344CB8AC3E}">
        <p14:creationId xmlns:p14="http://schemas.microsoft.com/office/powerpoint/2010/main" val="262746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457CE44-AA66-4FDF-8556-675CCE0562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457CE44-AA66-4FDF-8556-675CCE0562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val 14">
            <a:extLst>
              <a:ext uri="{FF2B5EF4-FFF2-40B4-BE49-F238E27FC236}">
                <a16:creationId xmlns:a16="http://schemas.microsoft.com/office/drawing/2014/main" id="{5B7E5039-4D9A-4667-8A66-A5CE4E80D4E1}"/>
              </a:ext>
            </a:extLst>
          </p:cNvPr>
          <p:cNvSpPr>
            <a:spLocks/>
          </p:cNvSpPr>
          <p:nvPr/>
        </p:nvSpPr>
        <p:spPr>
          <a:xfrm>
            <a:off x="512794" y="1441835"/>
            <a:ext cx="4482389" cy="4398300"/>
          </a:xfrm>
          <a:prstGeom prst="ellipse">
            <a:avLst/>
          </a:prstGeom>
          <a:solidFill>
            <a:srgbClr val="0056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2E4844-1077-44E1-9C3E-D5D571EEA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4277" y="642347"/>
            <a:ext cx="11041200" cy="460800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C17F6B-7D98-499B-8316-85F12E415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2</a:t>
            </a:fld>
            <a:endParaRPr lang="en-GB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A414BB6-5EB7-4293-8844-2950E0004C5A}"/>
              </a:ext>
            </a:extLst>
          </p:cNvPr>
          <p:cNvCxnSpPr>
            <a:cxnSpLocks/>
          </p:cNvCxnSpPr>
          <p:nvPr/>
        </p:nvCxnSpPr>
        <p:spPr>
          <a:xfrm>
            <a:off x="5953002" y="1882603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D4E1168E-22B6-FA6D-8672-B3CEF675A2F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185" y="1604371"/>
            <a:ext cx="4061059" cy="4061059"/>
          </a:xfrm>
          <a:prstGeom prst="ellipse">
            <a:avLst/>
          </a:prstGeom>
          <a:ln w="19050">
            <a:solidFill>
              <a:schemeClr val="tx1"/>
            </a:solidFill>
          </a:ln>
        </p:spPr>
      </p:pic>
      <p:sp>
        <p:nvSpPr>
          <p:cNvPr id="11" name="TextBox 10">
            <a:hlinkClick r:id="" action="ppaction://noaction"/>
            <a:extLst>
              <a:ext uri="{FF2B5EF4-FFF2-40B4-BE49-F238E27FC236}">
                <a16:creationId xmlns:a16="http://schemas.microsoft.com/office/drawing/2014/main" id="{9B409E26-38A0-40FB-8EF0-4C53A4BE2AA8}"/>
              </a:ext>
            </a:extLst>
          </p:cNvPr>
          <p:cNvSpPr txBox="1">
            <a:spLocks/>
          </p:cNvSpPr>
          <p:nvPr/>
        </p:nvSpPr>
        <p:spPr>
          <a:xfrm>
            <a:off x="6408932" y="1490709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nderstanding BIOp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B7454FD-A6C8-4C1F-99F7-C54DBB18B2B6}"/>
              </a:ext>
            </a:extLst>
          </p:cNvPr>
          <p:cNvSpPr>
            <a:spLocks/>
          </p:cNvSpPr>
          <p:nvPr/>
        </p:nvSpPr>
        <p:spPr>
          <a:xfrm>
            <a:off x="5960109" y="149342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4D9F35A-929B-4B4A-B253-1DE88B42227A}"/>
              </a:ext>
            </a:extLst>
          </p:cNvPr>
          <p:cNvSpPr txBox="1">
            <a:spLocks/>
          </p:cNvSpPr>
          <p:nvPr/>
        </p:nvSpPr>
        <p:spPr>
          <a:xfrm>
            <a:off x="6408932" y="2028278"/>
            <a:ext cx="451969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774AAAB-85BC-4FC4-915C-26D2B19B1E84}"/>
              </a:ext>
            </a:extLst>
          </p:cNvPr>
          <p:cNvSpPr>
            <a:spLocks/>
          </p:cNvSpPr>
          <p:nvPr/>
        </p:nvSpPr>
        <p:spPr>
          <a:xfrm>
            <a:off x="5960109" y="203099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0A53847-6C71-4A39-BE13-96D2E520B933}"/>
              </a:ext>
            </a:extLst>
          </p:cNvPr>
          <p:cNvSpPr txBox="1">
            <a:spLocks/>
          </p:cNvSpPr>
          <p:nvPr/>
        </p:nvSpPr>
        <p:spPr>
          <a:xfrm>
            <a:off x="6408932" y="2565846"/>
            <a:ext cx="473990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BIOps Workflow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237E31E-0929-4BCA-9543-F080C38A0FB9}"/>
              </a:ext>
            </a:extLst>
          </p:cNvPr>
          <p:cNvSpPr>
            <a:spLocks/>
          </p:cNvSpPr>
          <p:nvPr/>
        </p:nvSpPr>
        <p:spPr>
          <a:xfrm>
            <a:off x="5960109" y="2568562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4E7520-2BF3-4453-ADE5-8583E1B71B5E}"/>
              </a:ext>
            </a:extLst>
          </p:cNvPr>
          <p:cNvSpPr txBox="1">
            <a:spLocks/>
          </p:cNvSpPr>
          <p:nvPr/>
        </p:nvSpPr>
        <p:spPr>
          <a:xfrm>
            <a:off x="6408932" y="3103415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DB1028B-47AF-4FF3-87A2-FD6CEF84413C}"/>
              </a:ext>
            </a:extLst>
          </p:cNvPr>
          <p:cNvSpPr>
            <a:spLocks/>
          </p:cNvSpPr>
          <p:nvPr/>
        </p:nvSpPr>
        <p:spPr>
          <a:xfrm>
            <a:off x="5960109" y="3106130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3B01AECB-3A77-4567-A9BF-399685429588}"/>
              </a:ext>
            </a:extLst>
          </p:cNvPr>
          <p:cNvCxnSpPr>
            <a:cxnSpLocks/>
          </p:cNvCxnSpPr>
          <p:nvPr/>
        </p:nvCxnSpPr>
        <p:spPr>
          <a:xfrm>
            <a:off x="5953002" y="2420172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4B489C4-B4A0-41F7-8648-ADD1D5D87307}"/>
              </a:ext>
            </a:extLst>
          </p:cNvPr>
          <p:cNvCxnSpPr>
            <a:cxnSpLocks/>
          </p:cNvCxnSpPr>
          <p:nvPr/>
        </p:nvCxnSpPr>
        <p:spPr>
          <a:xfrm>
            <a:off x="5953002" y="295774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4C13B4-8D22-44C1-A85E-DBAE20174B48}"/>
              </a:ext>
            </a:extLst>
          </p:cNvPr>
          <p:cNvCxnSpPr>
            <a:cxnSpLocks/>
          </p:cNvCxnSpPr>
          <p:nvPr/>
        </p:nvCxnSpPr>
        <p:spPr>
          <a:xfrm>
            <a:off x="5953002" y="349531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63E662A-73C3-4A49-AAAF-EAD75F76291C}"/>
              </a:ext>
            </a:extLst>
          </p:cNvPr>
          <p:cNvCxnSpPr>
            <a:cxnSpLocks/>
          </p:cNvCxnSpPr>
          <p:nvPr/>
        </p:nvCxnSpPr>
        <p:spPr>
          <a:xfrm>
            <a:off x="5953002" y="4032879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EC29EBB-01D1-3791-1343-6D0DDD77E871}"/>
              </a:ext>
            </a:extLst>
          </p:cNvPr>
          <p:cNvSpPr txBox="1">
            <a:spLocks/>
          </p:cNvSpPr>
          <p:nvPr/>
        </p:nvSpPr>
        <p:spPr>
          <a:xfrm>
            <a:off x="1354587" y="6379200"/>
            <a:ext cx="188748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TextBox 2">
            <a:hlinkClick r:id="" action="ppaction://noaction"/>
            <a:extLst>
              <a:ext uri="{FF2B5EF4-FFF2-40B4-BE49-F238E27FC236}">
                <a16:creationId xmlns:a16="http://schemas.microsoft.com/office/drawing/2014/main" id="{E5C4397E-5CC3-18C7-B908-B9D248BD7C9E}"/>
              </a:ext>
            </a:extLst>
          </p:cNvPr>
          <p:cNvSpPr txBox="1">
            <a:spLocks/>
          </p:cNvSpPr>
          <p:nvPr/>
        </p:nvSpPr>
        <p:spPr>
          <a:xfrm>
            <a:off x="10434230" y="1490709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3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D9B0E4-610E-C9F3-33B1-DDABDC873C6D}"/>
              </a:ext>
            </a:extLst>
          </p:cNvPr>
          <p:cNvSpPr txBox="1">
            <a:spLocks/>
          </p:cNvSpPr>
          <p:nvPr/>
        </p:nvSpPr>
        <p:spPr>
          <a:xfrm>
            <a:off x="10434230" y="2028278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3AC3B6-0A83-2E54-C0A1-B1B62D9B12A5}"/>
              </a:ext>
            </a:extLst>
          </p:cNvPr>
          <p:cNvSpPr txBox="1">
            <a:spLocks/>
          </p:cNvSpPr>
          <p:nvPr/>
        </p:nvSpPr>
        <p:spPr>
          <a:xfrm>
            <a:off x="10434230" y="2565846"/>
            <a:ext cx="118055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7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D74F55-60EC-33A0-3111-BE2E085E20B6}"/>
              </a:ext>
            </a:extLst>
          </p:cNvPr>
          <p:cNvSpPr txBox="1">
            <a:spLocks/>
          </p:cNvSpPr>
          <p:nvPr/>
        </p:nvSpPr>
        <p:spPr>
          <a:xfrm>
            <a:off x="10434230" y="3103415"/>
            <a:ext cx="71218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EB6D9ED-08AE-227A-B467-58EB5552FC93}"/>
              </a:ext>
            </a:extLst>
          </p:cNvPr>
          <p:cNvSpPr/>
          <p:nvPr/>
        </p:nvSpPr>
        <p:spPr>
          <a:xfrm>
            <a:off x="1043166" y="2085416"/>
            <a:ext cx="3421647" cy="31682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CB4792F-7F8A-88A3-7682-F3C7E1B4F53C}"/>
              </a:ext>
            </a:extLst>
          </p:cNvPr>
          <p:cNvCxnSpPr>
            <a:cxnSpLocks/>
            <a:stCxn id="18" idx="0"/>
            <a:endCxn id="18" idx="4"/>
          </p:cNvCxnSpPr>
          <p:nvPr/>
        </p:nvCxnSpPr>
        <p:spPr>
          <a:xfrm>
            <a:off x="2753990" y="2085416"/>
            <a:ext cx="0" cy="3168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F4C2FB3-46F4-B48B-29E8-97C122A5A21C}"/>
              </a:ext>
            </a:extLst>
          </p:cNvPr>
          <p:cNvSpPr txBox="1">
            <a:spLocks/>
          </p:cNvSpPr>
          <p:nvPr/>
        </p:nvSpPr>
        <p:spPr>
          <a:xfrm>
            <a:off x="6401825" y="3630204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BIOps Demo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3E8328C-4143-171E-FF46-A240F2E0C901}"/>
              </a:ext>
            </a:extLst>
          </p:cNvPr>
          <p:cNvSpPr>
            <a:spLocks/>
          </p:cNvSpPr>
          <p:nvPr/>
        </p:nvSpPr>
        <p:spPr>
          <a:xfrm>
            <a:off x="5953002" y="3632918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E5817A4-8958-830E-9A20-F5E98CDDCCA6}"/>
              </a:ext>
            </a:extLst>
          </p:cNvPr>
          <p:cNvCxnSpPr>
            <a:cxnSpLocks/>
          </p:cNvCxnSpPr>
          <p:nvPr/>
        </p:nvCxnSpPr>
        <p:spPr>
          <a:xfrm>
            <a:off x="5945895" y="4022098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B12317ED-6B91-F4D9-73C7-268254F35124}"/>
              </a:ext>
            </a:extLst>
          </p:cNvPr>
          <p:cNvSpPr txBox="1">
            <a:spLocks/>
          </p:cNvSpPr>
          <p:nvPr/>
        </p:nvSpPr>
        <p:spPr>
          <a:xfrm>
            <a:off x="10434230" y="3640982"/>
            <a:ext cx="82013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3</a:t>
            </a:r>
          </a:p>
        </p:txBody>
      </p:sp>
      <p:pic>
        <p:nvPicPr>
          <p:cNvPr id="30" name="Picture 29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582CF194-0937-2C25-D357-044EBD4EFA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719" y="2904213"/>
            <a:ext cx="1478971" cy="1478971"/>
          </a:xfrm>
          <a:prstGeom prst="rect">
            <a:avLst/>
          </a:prstGeom>
        </p:spPr>
      </p:pic>
      <p:pic>
        <p:nvPicPr>
          <p:cNvPr id="35" name="Picture 34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7D286FB9-272E-55A3-2A7A-9CC6FEFFBFE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501" y="3020901"/>
            <a:ext cx="12192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147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nderstanding BIOps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7928223" cy="9387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ZA" sz="2800" dirty="0">
                <a:solidFill>
                  <a:schemeClr val="bg1"/>
                </a:solidFill>
              </a:rPr>
              <a:t>By Ndivhudzannyi Tshikhovhokhovho</a:t>
            </a:r>
          </a:p>
          <a:p>
            <a:pPr algn="l">
              <a:spcAft>
                <a:spcPts val="600"/>
              </a:spcAft>
            </a:pP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1398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derstanding BIOp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4C805A9-10A1-32C6-8C94-E204F9A36C3E}"/>
              </a:ext>
            </a:extLst>
          </p:cNvPr>
          <p:cNvGrpSpPr/>
          <p:nvPr/>
        </p:nvGrpSpPr>
        <p:grpSpPr>
          <a:xfrm>
            <a:off x="7734407" y="1856224"/>
            <a:ext cx="3316190" cy="3316190"/>
            <a:chOff x="839521" y="1770905"/>
            <a:chExt cx="3316190" cy="3316190"/>
          </a:xfrm>
        </p:grpSpPr>
        <p:pic>
          <p:nvPicPr>
            <p:cNvPr id="5" name="Picture 4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5421B780-B428-644B-2476-000D18CDBF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9521" y="1770905"/>
              <a:ext cx="3316190" cy="3316190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A2B51DA-4B7D-3AF7-47D2-259FE0D276E1}"/>
                </a:ext>
              </a:extLst>
            </p:cNvPr>
            <p:cNvSpPr txBox="1"/>
            <p:nvPr/>
          </p:nvSpPr>
          <p:spPr>
            <a:xfrm>
              <a:off x="1252709" y="3162010"/>
              <a:ext cx="413575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FEEDD9E-80CC-C013-9EA9-990078235898}"/>
                </a:ext>
              </a:extLst>
            </p:cNvPr>
            <p:cNvSpPr txBox="1"/>
            <p:nvPr/>
          </p:nvSpPr>
          <p:spPr>
            <a:xfrm>
              <a:off x="3075483" y="3069759"/>
              <a:ext cx="827150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p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399B518-B5D3-1C82-5B0E-D5481BE335EE}"/>
              </a:ext>
            </a:extLst>
          </p:cNvPr>
          <p:cNvGrpSpPr/>
          <p:nvPr/>
        </p:nvGrpSpPr>
        <p:grpSpPr>
          <a:xfrm>
            <a:off x="1356554" y="1770905"/>
            <a:ext cx="3316190" cy="3316190"/>
            <a:chOff x="839521" y="1770905"/>
            <a:chExt cx="3316190" cy="3316190"/>
          </a:xfrm>
        </p:grpSpPr>
        <p:pic>
          <p:nvPicPr>
            <p:cNvPr id="9" name="Picture 8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1C451441-454B-4F86-F092-EF40DB83B7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9521" y="1770905"/>
              <a:ext cx="3316190" cy="331619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36CCA99-46D9-8AF1-2FF1-177995D85FAE}"/>
                </a:ext>
              </a:extLst>
            </p:cNvPr>
            <p:cNvSpPr txBox="1"/>
            <p:nvPr/>
          </p:nvSpPr>
          <p:spPr>
            <a:xfrm>
              <a:off x="1099543" y="3171147"/>
              <a:ext cx="81111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v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3CEE575-E8CA-6016-B857-99CC956DC511}"/>
                </a:ext>
              </a:extLst>
            </p:cNvPr>
            <p:cNvSpPr txBox="1"/>
            <p:nvPr/>
          </p:nvSpPr>
          <p:spPr>
            <a:xfrm>
              <a:off x="2981804" y="3069759"/>
              <a:ext cx="1080228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ps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9B89DE4-E64A-C5FA-DDBF-C59670A99B95}"/>
              </a:ext>
            </a:extLst>
          </p:cNvPr>
          <p:cNvGrpSpPr/>
          <p:nvPr/>
        </p:nvGrpSpPr>
        <p:grpSpPr>
          <a:xfrm>
            <a:off x="6744275" y="2010902"/>
            <a:ext cx="5296453" cy="3753558"/>
            <a:chOff x="-937056" y="814632"/>
            <a:chExt cx="5296453" cy="375355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D84DD56-1397-C8E6-ED5D-859E2CE14C50}"/>
                </a:ext>
              </a:extLst>
            </p:cNvPr>
            <p:cNvSpPr txBox="1"/>
            <p:nvPr/>
          </p:nvSpPr>
          <p:spPr>
            <a:xfrm>
              <a:off x="-937056" y="3213460"/>
              <a:ext cx="5296453" cy="13547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50000"/>
                </a:lnSpc>
                <a:spcAft>
                  <a:spcPts val="600"/>
                </a:spcAft>
              </a:pPr>
              <a:r>
                <a:rPr lang="en-US" sz="2000" b="1" dirty="0">
                  <a:solidFill>
                    <a:schemeClr val="tx2"/>
                  </a:solidFill>
                </a:rPr>
                <a:t>What is BI Ops?          </a:t>
              </a:r>
            </a:p>
            <a:p>
              <a:pPr algn="ctr">
                <a:lnSpc>
                  <a:spcPct val="15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tx2"/>
                  </a:solidFill>
                </a:rPr>
                <a:t>  It is the DevOps of BI.</a:t>
              </a:r>
            </a:p>
            <a:p>
              <a:pPr marL="342900" indent="-342900" algn="l">
                <a:lnSpc>
                  <a:spcPct val="15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pic>
          <p:nvPicPr>
            <p:cNvPr id="14" name="Picture 13" descr="A cartoon rocket with fire&#10;&#10;Description automatically generated">
              <a:extLst>
                <a:ext uri="{FF2B5EF4-FFF2-40B4-BE49-F238E27FC236}">
                  <a16:creationId xmlns:a16="http://schemas.microsoft.com/office/drawing/2014/main" id="{E418057D-431C-DA4D-0A8F-8D1F397EE0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96091">
              <a:off x="2591290" y="1148373"/>
              <a:ext cx="366631" cy="252076"/>
            </a:xfrm>
            <a:prstGeom prst="rect">
              <a:avLst/>
            </a:prstGeom>
          </p:spPr>
        </p:pic>
        <p:pic>
          <p:nvPicPr>
            <p:cNvPr id="15" name="Picture 14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265500B7-1666-5D4C-25F1-1998C1D868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7118" y="814632"/>
              <a:ext cx="433683" cy="369348"/>
            </a:xfrm>
            <a:prstGeom prst="rect">
              <a:avLst/>
            </a:prstGeom>
          </p:spPr>
        </p:pic>
      </p:grpSp>
      <p:sp>
        <p:nvSpPr>
          <p:cNvPr id="16" name="Equals 15">
            <a:extLst>
              <a:ext uri="{FF2B5EF4-FFF2-40B4-BE49-F238E27FC236}">
                <a16:creationId xmlns:a16="http://schemas.microsoft.com/office/drawing/2014/main" id="{71448B28-0269-0E24-6D72-DB28654A8667}"/>
              </a:ext>
            </a:extLst>
          </p:cNvPr>
          <p:cNvSpPr/>
          <p:nvPr/>
        </p:nvSpPr>
        <p:spPr>
          <a:xfrm>
            <a:off x="5520909" y="3057119"/>
            <a:ext cx="1365333" cy="914400"/>
          </a:xfrm>
          <a:prstGeom prst="mathEqual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noProof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87469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se Case Scenario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42652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</a:rPr>
              <a:t>By Pranav Bhoola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410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  <p:pic>
        <p:nvPicPr>
          <p:cNvPr id="6" name="Picture 5_Scard" descr="A cartoon of a person sitting at a desk with a computer&#10;&#10;Description automatically generated">
            <a:extLst>
              <a:ext uri="{FF2B5EF4-FFF2-40B4-BE49-F238E27FC236}">
                <a16:creationId xmlns:a16="http://schemas.microsoft.com/office/drawing/2014/main" id="{7EF9C6C3-801C-3835-6D80-6B24D873155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57"/>
          <a:stretch/>
        </p:blipFill>
        <p:spPr>
          <a:xfrm>
            <a:off x="8758831" y="2463081"/>
            <a:ext cx="2644127" cy="3754903"/>
          </a:xfrm>
          <a:prstGeom prst="rect">
            <a:avLst/>
          </a:prstGeom>
        </p:spPr>
      </p:pic>
      <p:grpSp>
        <p:nvGrpSpPr>
          <p:cNvPr id="22" name="Group 21_wrong worksapce">
            <a:extLst>
              <a:ext uri="{FF2B5EF4-FFF2-40B4-BE49-F238E27FC236}">
                <a16:creationId xmlns:a16="http://schemas.microsoft.com/office/drawing/2014/main" id="{42552DC3-DB4D-FA2C-B4FE-816276C1EF26}"/>
              </a:ext>
            </a:extLst>
          </p:cNvPr>
          <p:cNvGrpSpPr/>
          <p:nvPr/>
        </p:nvGrpSpPr>
        <p:grpSpPr>
          <a:xfrm>
            <a:off x="7612652" y="2462643"/>
            <a:ext cx="3230020" cy="1667405"/>
            <a:chOff x="7612652" y="2462643"/>
            <a:chExt cx="3230020" cy="1667405"/>
          </a:xfrm>
        </p:grpSpPr>
        <p:pic>
          <p:nvPicPr>
            <p:cNvPr id="7" name="Picture 6_Wrong workspace" descr="A white rectangular object with a red x and black text&#10;&#10;Description automatically generated">
              <a:extLst>
                <a:ext uri="{FF2B5EF4-FFF2-40B4-BE49-F238E27FC236}">
                  <a16:creationId xmlns:a16="http://schemas.microsoft.com/office/drawing/2014/main" id="{1394ADBF-B709-3649-2812-EDAD90C0D1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268" t="31603" r="11166" b="30753"/>
            <a:stretch/>
          </p:blipFill>
          <p:spPr>
            <a:xfrm>
              <a:off x="7612652" y="2462643"/>
              <a:ext cx="1630989" cy="1119584"/>
            </a:xfrm>
            <a:prstGeom prst="rect">
              <a:avLst/>
            </a:prstGeom>
          </p:spPr>
        </p:pic>
        <p:grpSp>
          <p:nvGrpSpPr>
            <p:cNvPr id="19" name="Error Alert">
              <a:extLst>
                <a:ext uri="{FF2B5EF4-FFF2-40B4-BE49-F238E27FC236}">
                  <a16:creationId xmlns:a16="http://schemas.microsoft.com/office/drawing/2014/main" id="{51FE5B06-153F-AA6A-0EAF-7B38A292CDE2}"/>
                </a:ext>
              </a:extLst>
            </p:cNvPr>
            <p:cNvGrpSpPr/>
            <p:nvPr/>
          </p:nvGrpSpPr>
          <p:grpSpPr>
            <a:xfrm>
              <a:off x="9308380" y="3617932"/>
              <a:ext cx="1534292" cy="512116"/>
              <a:chOff x="9308380" y="3617932"/>
              <a:chExt cx="1534292" cy="512116"/>
            </a:xfrm>
          </p:grpSpPr>
          <p:pic>
            <p:nvPicPr>
              <p:cNvPr id="14" name="Picture 13" descr="A red exclamation mark&#10;&#10;Description automatically generated">
                <a:extLst>
                  <a:ext uri="{FF2B5EF4-FFF2-40B4-BE49-F238E27FC236}">
                    <a16:creationId xmlns:a16="http://schemas.microsoft.com/office/drawing/2014/main" id="{5ACB79AA-7EE6-9368-E206-B78C802C7A3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73" t="9114" r="41372" b="16596"/>
              <a:stretch/>
            </p:blipFill>
            <p:spPr>
              <a:xfrm rot="2443479">
                <a:off x="10739828" y="3625523"/>
                <a:ext cx="102844" cy="504525"/>
              </a:xfrm>
              <a:prstGeom prst="rect">
                <a:avLst/>
              </a:prstGeom>
            </p:spPr>
          </p:pic>
          <p:pic>
            <p:nvPicPr>
              <p:cNvPr id="16" name="Picture 15" descr="A red exclamation mark&#10;&#10;Description automatically generated">
                <a:extLst>
                  <a:ext uri="{FF2B5EF4-FFF2-40B4-BE49-F238E27FC236}">
                    <a16:creationId xmlns:a16="http://schemas.microsoft.com/office/drawing/2014/main" id="{8A3B2B3E-7D34-CFCE-C50A-9D01C3BC673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73" t="9114" r="41372" b="16596"/>
              <a:stretch/>
            </p:blipFill>
            <p:spPr>
              <a:xfrm rot="18958865">
                <a:off x="9308380" y="3617932"/>
                <a:ext cx="102844" cy="504525"/>
              </a:xfrm>
              <a:prstGeom prst="rect">
                <a:avLst/>
              </a:prstGeom>
            </p:spPr>
          </p:pic>
        </p:grp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8AEF384-80CE-97C0-3AEF-CA5F9F477617}"/>
              </a:ext>
            </a:extLst>
          </p:cNvPr>
          <p:cNvSpPr txBox="1"/>
          <p:nvPr/>
        </p:nvSpPr>
        <p:spPr>
          <a:xfrm>
            <a:off x="599197" y="1218302"/>
            <a:ext cx="101684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ZA" dirty="0">
                <a:ea typeface="Aptos" panose="020B0004020202020204" pitchFamily="34" charset="0"/>
                <a:cs typeface="Times New Roman" panose="02020603050405020304" pitchFamily="18" charset="0"/>
              </a:rPr>
              <a:t>O</a:t>
            </a:r>
            <a:r>
              <a:rPr lang="en-ZA" sz="18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bjective is to </a:t>
            </a:r>
            <a:r>
              <a:rPr lang="en-ZA" dirty="0"/>
              <a:t>highlight the benefits of automating Power BI report deployments to Power BI Services and utilising GitHub for version control over manual processes.</a:t>
            </a:r>
          </a:p>
        </p:txBody>
      </p:sp>
      <p:sp>
        <p:nvSpPr>
          <p:cNvPr id="4" name="TextBox_Benefits">
            <a:extLst>
              <a:ext uri="{FF2B5EF4-FFF2-40B4-BE49-F238E27FC236}">
                <a16:creationId xmlns:a16="http://schemas.microsoft.com/office/drawing/2014/main" id="{F732AD9F-B6D8-5AAD-504D-E9DE723C8142}"/>
              </a:ext>
            </a:extLst>
          </p:cNvPr>
          <p:cNvSpPr txBox="1"/>
          <p:nvPr/>
        </p:nvSpPr>
        <p:spPr>
          <a:xfrm>
            <a:off x="593024" y="2167373"/>
            <a:ext cx="691093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ZA" sz="2000" b="1" dirty="0"/>
              <a:t>Benefits of Automated Deployment with Version Control:</a:t>
            </a:r>
            <a:endParaRPr lang="en-ZA" sz="2000" b="1" dirty="0">
              <a:solidFill>
                <a:schemeClr val="tx2"/>
              </a:solidFill>
            </a:endParaRPr>
          </a:p>
        </p:txBody>
      </p:sp>
      <p:grpSp>
        <p:nvGrpSpPr>
          <p:cNvPr id="21" name="Group 20_Happy">
            <a:extLst>
              <a:ext uri="{FF2B5EF4-FFF2-40B4-BE49-F238E27FC236}">
                <a16:creationId xmlns:a16="http://schemas.microsoft.com/office/drawing/2014/main" id="{D3346068-FF3D-ADB9-BE92-CF99883B8822}"/>
              </a:ext>
            </a:extLst>
          </p:cNvPr>
          <p:cNvGrpSpPr/>
          <p:nvPr/>
        </p:nvGrpSpPr>
        <p:grpSpPr>
          <a:xfrm>
            <a:off x="7593040" y="2265810"/>
            <a:ext cx="3958074" cy="4032449"/>
            <a:chOff x="7585560" y="2215483"/>
            <a:chExt cx="3958074" cy="4032449"/>
          </a:xfrm>
        </p:grpSpPr>
        <p:pic>
          <p:nvPicPr>
            <p:cNvPr id="18" name="Picture 17_Happy" descr="A cartoon of a person sitting at a desk with a computer&#10;&#10;Description automatically generated">
              <a:extLst>
                <a:ext uri="{FF2B5EF4-FFF2-40B4-BE49-F238E27FC236}">
                  <a16:creationId xmlns:a16="http://schemas.microsoft.com/office/drawing/2014/main" id="{6E9712DA-F67C-B07D-4FC8-25013F524E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41" t="12293" r="8597" b="11261"/>
            <a:stretch/>
          </p:blipFill>
          <p:spPr>
            <a:xfrm>
              <a:off x="8899580" y="2413594"/>
              <a:ext cx="2644054" cy="3834338"/>
            </a:xfrm>
            <a:prstGeom prst="rect">
              <a:avLst/>
            </a:prstGeom>
          </p:spPr>
        </p:pic>
        <p:pic>
          <p:nvPicPr>
            <p:cNvPr id="11" name="Picture 10_Check Mark" descr="A green check mark in a circle&#10;&#10;Description automatically generated">
              <a:extLst>
                <a:ext uri="{FF2B5EF4-FFF2-40B4-BE49-F238E27FC236}">
                  <a16:creationId xmlns:a16="http://schemas.microsoft.com/office/drawing/2014/main" id="{895D8B80-6719-315C-C8D6-636D15B7640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5560" y="2215483"/>
              <a:ext cx="1685172" cy="1685172"/>
            </a:xfrm>
            <a:prstGeom prst="rect">
              <a:avLst/>
            </a:prstGeom>
          </p:spPr>
        </p:pic>
      </p:grpSp>
      <p:grpSp>
        <p:nvGrpSpPr>
          <p:cNvPr id="9" name="Group_Of Benifits">
            <a:extLst>
              <a:ext uri="{FF2B5EF4-FFF2-40B4-BE49-F238E27FC236}">
                <a16:creationId xmlns:a16="http://schemas.microsoft.com/office/drawing/2014/main" id="{4E414D35-847A-4207-B080-6B86CE5BCFC1}"/>
              </a:ext>
            </a:extLst>
          </p:cNvPr>
          <p:cNvGrpSpPr/>
          <p:nvPr/>
        </p:nvGrpSpPr>
        <p:grpSpPr>
          <a:xfrm>
            <a:off x="559970" y="3022435"/>
            <a:ext cx="4430765" cy="3039229"/>
            <a:chOff x="559970" y="3022435"/>
            <a:chExt cx="4430765" cy="3039229"/>
          </a:xfrm>
        </p:grpSpPr>
        <p:sp>
          <p:nvSpPr>
            <p:cNvPr id="13" name="TextBox_Minimise Errors">
              <a:extLst>
                <a:ext uri="{FF2B5EF4-FFF2-40B4-BE49-F238E27FC236}">
                  <a16:creationId xmlns:a16="http://schemas.microsoft.com/office/drawing/2014/main" id="{BAF49E65-6BA3-CECA-2083-070CBAB570FD}"/>
                </a:ext>
              </a:extLst>
            </p:cNvPr>
            <p:cNvSpPr txBox="1"/>
            <p:nvPr/>
          </p:nvSpPr>
          <p:spPr>
            <a:xfrm>
              <a:off x="593024" y="3022435"/>
              <a:ext cx="2637004" cy="286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sz="1800" kern="100" dirty="0"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Minimised Human Error</a:t>
              </a:r>
            </a:p>
          </p:txBody>
        </p:sp>
        <p:sp>
          <p:nvSpPr>
            <p:cNvPr id="15" name="TextBox_Up to date reports">
              <a:extLst>
                <a:ext uri="{FF2B5EF4-FFF2-40B4-BE49-F238E27FC236}">
                  <a16:creationId xmlns:a16="http://schemas.microsoft.com/office/drawing/2014/main" id="{7AC17E0E-4C68-6DBC-AECD-AD1E75A207B2}"/>
                </a:ext>
              </a:extLst>
            </p:cNvPr>
            <p:cNvSpPr txBox="1"/>
            <p:nvPr/>
          </p:nvSpPr>
          <p:spPr>
            <a:xfrm>
              <a:off x="586414" y="4820157"/>
              <a:ext cx="2237087" cy="286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sz="1800" kern="100" dirty="0"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Up-to-Date Reports</a:t>
              </a:r>
            </a:p>
          </p:txBody>
        </p:sp>
        <p:sp>
          <p:nvSpPr>
            <p:cNvPr id="17" name="TextBox_Reduced Workload">
              <a:extLst>
                <a:ext uri="{FF2B5EF4-FFF2-40B4-BE49-F238E27FC236}">
                  <a16:creationId xmlns:a16="http://schemas.microsoft.com/office/drawing/2014/main" id="{A17B9561-9074-1E05-7E58-8369561D0B28}"/>
                </a:ext>
              </a:extLst>
            </p:cNvPr>
            <p:cNvSpPr txBox="1"/>
            <p:nvPr/>
          </p:nvSpPr>
          <p:spPr>
            <a:xfrm>
              <a:off x="593024" y="3921296"/>
              <a:ext cx="2182329" cy="286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sz="1800" kern="100" dirty="0"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Reduced Workload</a:t>
              </a:r>
            </a:p>
          </p:txBody>
        </p:sp>
        <p:sp>
          <p:nvSpPr>
            <p:cNvPr id="5" name="TextBox_Up to date reports">
              <a:extLst>
                <a:ext uri="{FF2B5EF4-FFF2-40B4-BE49-F238E27FC236}">
                  <a16:creationId xmlns:a16="http://schemas.microsoft.com/office/drawing/2014/main" id="{50C4B07D-5BB5-A093-2388-82D10384403C}"/>
                </a:ext>
              </a:extLst>
            </p:cNvPr>
            <p:cNvSpPr txBox="1"/>
            <p:nvPr/>
          </p:nvSpPr>
          <p:spPr>
            <a:xfrm>
              <a:off x="559970" y="5777932"/>
              <a:ext cx="4430765" cy="2837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dirty="0">
                  <a:latin typeface="Aptos" panose="020B0004020202020204" pitchFamily="34" charset="0"/>
                </a:rPr>
                <a:t>Enhanced Traceability and Collaboration</a:t>
              </a:r>
              <a:endParaRPr lang="en-ZA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1254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BIOps Workflow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Bihaag Nepaul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203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Workflow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473CA27-2C09-8821-C0A2-26C35B0A64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9287" y="1340643"/>
            <a:ext cx="8353425" cy="4176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513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AF8D7E6-CE4B-29A9-54CA-E497A9FBF423}"/>
              </a:ext>
            </a:extLst>
          </p:cNvPr>
          <p:cNvSpPr/>
          <p:nvPr/>
        </p:nvSpPr>
        <p:spPr>
          <a:xfrm>
            <a:off x="1093129" y="2641743"/>
            <a:ext cx="2140261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400" b="1" noProof="0" dirty="0">
                <a:solidFill>
                  <a:schemeClr val="tx1"/>
                </a:solidFill>
              </a:rPr>
              <a:t>Main-Branch</a:t>
            </a:r>
            <a:endParaRPr lang="en-ZA" sz="2400" b="1" noProof="0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Workflow (cont.)</a:t>
            </a: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C5B87E0-BBD0-6142-D32A-FD5EE22F6E5F}"/>
              </a:ext>
            </a:extLst>
          </p:cNvPr>
          <p:cNvSpPr/>
          <p:nvPr/>
        </p:nvSpPr>
        <p:spPr>
          <a:xfrm>
            <a:off x="3507423" y="2418358"/>
            <a:ext cx="914400" cy="914400"/>
          </a:xfrm>
          <a:prstGeom prst="donu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>
              <a:solidFill>
                <a:schemeClr val="tx1"/>
              </a:solidFill>
            </a:endParaRPr>
          </a:p>
        </p:txBody>
      </p:sp>
      <p:pic>
        <p:nvPicPr>
          <p:cNvPr id="17" name="Picture 16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F0B838F8-1DA4-0F64-5DE0-DED5B52D4A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11" y="1145053"/>
            <a:ext cx="851732" cy="851732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6F6E7DA3-069B-6DD3-B502-CDF847761F67}"/>
              </a:ext>
            </a:extLst>
          </p:cNvPr>
          <p:cNvGrpSpPr/>
          <p:nvPr/>
        </p:nvGrpSpPr>
        <p:grpSpPr>
          <a:xfrm>
            <a:off x="3470210" y="4164756"/>
            <a:ext cx="988827" cy="935666"/>
            <a:chOff x="1797345" y="4670350"/>
            <a:chExt cx="988827" cy="935666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396D8FC-852A-8EDF-C23F-AAE16AB1BDB3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2" name="Picture 21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C253F3BA-5B17-0436-68D0-8134EDB42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BEF18F4-68B6-975E-43BF-CB880B25015A}"/>
              </a:ext>
            </a:extLst>
          </p:cNvPr>
          <p:cNvGrpSpPr/>
          <p:nvPr/>
        </p:nvGrpSpPr>
        <p:grpSpPr>
          <a:xfrm>
            <a:off x="5174963" y="4156924"/>
            <a:ext cx="988827" cy="935666"/>
            <a:chOff x="1797345" y="4670350"/>
            <a:chExt cx="988827" cy="93566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6943BCC-D3FA-3665-ED0F-BE1FB0785F91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6" name="Picture 25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327C64B2-6A19-2BA6-7096-D4131A8129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F81F7C6-694D-6F99-E180-51D99D3312CD}"/>
              </a:ext>
            </a:extLst>
          </p:cNvPr>
          <p:cNvGrpSpPr/>
          <p:nvPr/>
        </p:nvGrpSpPr>
        <p:grpSpPr>
          <a:xfrm>
            <a:off x="6879716" y="4164756"/>
            <a:ext cx="988827" cy="935666"/>
            <a:chOff x="1797345" y="4670350"/>
            <a:chExt cx="988827" cy="93566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6B47D5C-F6AB-8C91-4B09-49EFB83F6313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30" name="Picture 29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6589CE33-410C-E51E-73DA-7FD45616A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BBA472DE-295B-5672-A103-A2B8625C66E1}"/>
              </a:ext>
            </a:extLst>
          </p:cNvPr>
          <p:cNvSpPr/>
          <p:nvPr/>
        </p:nvSpPr>
        <p:spPr>
          <a:xfrm>
            <a:off x="4235860" y="4570930"/>
            <a:ext cx="972000" cy="159488"/>
          </a:xfrm>
          <a:prstGeom prst="roundRect">
            <a:avLst/>
          </a:prstGeom>
          <a:solidFill>
            <a:srgbClr val="27B3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6ECB99A-551B-DBCE-7109-4ED9E0DDE5BD}"/>
              </a:ext>
            </a:extLst>
          </p:cNvPr>
          <p:cNvSpPr/>
          <p:nvPr/>
        </p:nvSpPr>
        <p:spPr>
          <a:xfrm>
            <a:off x="5959786" y="4552845"/>
            <a:ext cx="972000" cy="159488"/>
          </a:xfrm>
          <a:prstGeom prst="roundRect">
            <a:avLst/>
          </a:prstGeom>
          <a:solidFill>
            <a:srgbClr val="27B3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15813401-7EC8-4411-8B25-6C9D00AA43D2}"/>
              </a:ext>
            </a:extLst>
          </p:cNvPr>
          <p:cNvSpPr/>
          <p:nvPr/>
        </p:nvSpPr>
        <p:spPr>
          <a:xfrm rot="5400000">
            <a:off x="6888129" y="3722682"/>
            <a:ext cx="972000" cy="159488"/>
          </a:xfrm>
          <a:prstGeom prst="roundRect">
            <a:avLst/>
          </a:prstGeom>
          <a:gradFill>
            <a:gsLst>
              <a:gs pos="0">
                <a:srgbClr val="5988FD"/>
              </a:gs>
              <a:gs pos="100000">
                <a:srgbClr val="27B35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FE2AF29-190F-F714-6EE0-77A492FB99E2}"/>
              </a:ext>
            </a:extLst>
          </p:cNvPr>
          <p:cNvGrpSpPr/>
          <p:nvPr/>
        </p:nvGrpSpPr>
        <p:grpSpPr>
          <a:xfrm>
            <a:off x="6879716" y="2455573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A3C3E45-59C0-BA14-E572-D347873E86CD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42" name="Picture 41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F1B5878C-BC33-FD9D-019D-AFDEB0881E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5D86153E-2E77-CFEC-3303-BA25AEC74EEB}"/>
              </a:ext>
            </a:extLst>
          </p:cNvPr>
          <p:cNvSpPr txBox="1"/>
          <p:nvPr/>
        </p:nvSpPr>
        <p:spPr>
          <a:xfrm>
            <a:off x="1367162" y="1360176"/>
            <a:ext cx="2140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ysClr val="windowText" lastClr="000000"/>
                </a:solidFill>
              </a:rPr>
              <a:t>CI Pipeline</a:t>
            </a:r>
            <a:endParaRPr lang="en-ZA" sz="2800" b="1" dirty="0" err="1">
              <a:solidFill>
                <a:sysClr val="windowText" lastClr="000000"/>
              </a:solidFill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4EADDE71-2F07-C011-B316-35BBD81CA996}"/>
              </a:ext>
            </a:extLst>
          </p:cNvPr>
          <p:cNvSpPr/>
          <p:nvPr/>
        </p:nvSpPr>
        <p:spPr>
          <a:xfrm>
            <a:off x="4332986" y="2839608"/>
            <a:ext cx="2664000" cy="159488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50" name="Graphic 49" descr="Programmer male with solid fill">
            <a:extLst>
              <a:ext uri="{FF2B5EF4-FFF2-40B4-BE49-F238E27FC236}">
                <a16:creationId xmlns:a16="http://schemas.microsoft.com/office/drawing/2014/main" id="{E11B6F1B-6F51-113B-ADDD-61B086FAD6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9879" y="5113853"/>
            <a:ext cx="809487" cy="809487"/>
          </a:xfrm>
          <a:prstGeom prst="rect">
            <a:avLst/>
          </a:prstGeom>
        </p:spPr>
      </p:pic>
      <p:pic>
        <p:nvPicPr>
          <p:cNvPr id="51" name="Graphic 50" descr="Programmer male with solid fill">
            <a:extLst>
              <a:ext uri="{FF2B5EF4-FFF2-40B4-BE49-F238E27FC236}">
                <a16:creationId xmlns:a16="http://schemas.microsoft.com/office/drawing/2014/main" id="{E36A23FF-1DBF-0532-CFC1-B2A9AB46F0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34283" y="5108767"/>
            <a:ext cx="809487" cy="809487"/>
          </a:xfrm>
          <a:prstGeom prst="rect">
            <a:avLst/>
          </a:prstGeom>
        </p:spPr>
      </p:pic>
      <p:pic>
        <p:nvPicPr>
          <p:cNvPr id="53" name="Graphic 52" descr="Programmer female with solid fill">
            <a:extLst>
              <a:ext uri="{FF2B5EF4-FFF2-40B4-BE49-F238E27FC236}">
                <a16:creationId xmlns:a16="http://schemas.microsoft.com/office/drawing/2014/main" id="{F88212BC-BCD2-550A-27F5-9B9C016177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51273" y="5108254"/>
            <a:ext cx="810000" cy="810000"/>
          </a:xfrm>
          <a:prstGeom prst="rect">
            <a:avLst/>
          </a:prstGeom>
        </p:spPr>
      </p:pic>
      <p:sp>
        <p:nvSpPr>
          <p:cNvPr id="4" name="Arrow: Up 3">
            <a:extLst>
              <a:ext uri="{FF2B5EF4-FFF2-40B4-BE49-F238E27FC236}">
                <a16:creationId xmlns:a16="http://schemas.microsoft.com/office/drawing/2014/main" id="{24B7B173-22F7-52D3-3137-9EF63A062255}"/>
              </a:ext>
            </a:extLst>
          </p:cNvPr>
          <p:cNvSpPr/>
          <p:nvPr/>
        </p:nvSpPr>
        <p:spPr>
          <a:xfrm>
            <a:off x="3493974" y="5128661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3C6271CC-E397-A493-E2A3-F740B6510630}"/>
              </a:ext>
            </a:extLst>
          </p:cNvPr>
          <p:cNvSpPr/>
          <p:nvPr/>
        </p:nvSpPr>
        <p:spPr>
          <a:xfrm rot="18371690">
            <a:off x="4795471" y="4699925"/>
            <a:ext cx="192051" cy="1058785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9" name="Arrow: Up 8">
            <a:extLst>
              <a:ext uri="{FF2B5EF4-FFF2-40B4-BE49-F238E27FC236}">
                <a16:creationId xmlns:a16="http://schemas.microsoft.com/office/drawing/2014/main" id="{768D7242-A4C2-FB1A-396F-6EEF2B941EF7}"/>
              </a:ext>
            </a:extLst>
          </p:cNvPr>
          <p:cNvSpPr/>
          <p:nvPr/>
        </p:nvSpPr>
        <p:spPr>
          <a:xfrm>
            <a:off x="5208055" y="5123112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3AC41579-2EA7-46D1-CCBF-4EEF8F8A6EE0}"/>
              </a:ext>
            </a:extLst>
          </p:cNvPr>
          <p:cNvSpPr/>
          <p:nvPr/>
        </p:nvSpPr>
        <p:spPr>
          <a:xfrm rot="18442211">
            <a:off x="6414123" y="4719103"/>
            <a:ext cx="192051" cy="1058785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2" name="Arrow: Up 11">
            <a:extLst>
              <a:ext uri="{FF2B5EF4-FFF2-40B4-BE49-F238E27FC236}">
                <a16:creationId xmlns:a16="http://schemas.microsoft.com/office/drawing/2014/main" id="{CFABC39F-CF3C-8F68-1D79-C482A3BA7846}"/>
              </a:ext>
            </a:extLst>
          </p:cNvPr>
          <p:cNvSpPr/>
          <p:nvPr/>
        </p:nvSpPr>
        <p:spPr>
          <a:xfrm>
            <a:off x="6848510" y="5130257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5C961A8-D454-6CF0-1834-E190F45E5ED2}"/>
              </a:ext>
            </a:extLst>
          </p:cNvPr>
          <p:cNvGrpSpPr/>
          <p:nvPr/>
        </p:nvGrpSpPr>
        <p:grpSpPr>
          <a:xfrm>
            <a:off x="8584922" y="3486771"/>
            <a:ext cx="810000" cy="2552546"/>
            <a:chOff x="6912057" y="3992365"/>
            <a:chExt cx="810000" cy="2552546"/>
          </a:xfrm>
          <a:solidFill>
            <a:schemeClr val="tx1"/>
          </a:solidFill>
        </p:grpSpPr>
        <p:pic>
          <p:nvPicPr>
            <p:cNvPr id="13" name="Graphic 12" descr="Programmer male with solid fill">
              <a:extLst>
                <a:ext uri="{FF2B5EF4-FFF2-40B4-BE49-F238E27FC236}">
                  <a16:creationId xmlns:a16="http://schemas.microsoft.com/office/drawing/2014/main" id="{11AF24B2-60B2-8032-38AE-37E8EFE26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12057" y="3992365"/>
              <a:ext cx="809487" cy="809487"/>
            </a:xfrm>
            <a:prstGeom prst="rect">
              <a:avLst/>
            </a:prstGeom>
          </p:spPr>
        </p:pic>
        <p:pic>
          <p:nvPicPr>
            <p:cNvPr id="16" name="Graphic 15" descr="Programmer male with solid fill">
              <a:extLst>
                <a:ext uri="{FF2B5EF4-FFF2-40B4-BE49-F238E27FC236}">
                  <a16:creationId xmlns:a16="http://schemas.microsoft.com/office/drawing/2014/main" id="{93F9AA07-C097-05ED-FFEA-95A22C6E5B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12057" y="4887224"/>
              <a:ext cx="809487" cy="809487"/>
            </a:xfrm>
            <a:prstGeom prst="rect">
              <a:avLst/>
            </a:prstGeom>
          </p:spPr>
        </p:pic>
        <p:pic>
          <p:nvPicPr>
            <p:cNvPr id="18" name="Graphic 17" descr="Programmer female with solid fill">
              <a:extLst>
                <a:ext uri="{FF2B5EF4-FFF2-40B4-BE49-F238E27FC236}">
                  <a16:creationId xmlns:a16="http://schemas.microsoft.com/office/drawing/2014/main" id="{EE91E1E2-2970-6344-C033-31B4386DAD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912057" y="5734911"/>
              <a:ext cx="810000" cy="810000"/>
            </a:xfrm>
            <a:prstGeom prst="rect">
              <a:avLst/>
            </a:prstGeom>
          </p:spPr>
        </p:pic>
      </p:grp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1ADD5065-CEEF-D236-DD54-B5CCE05CD916}"/>
              </a:ext>
            </a:extLst>
          </p:cNvPr>
          <p:cNvSpPr/>
          <p:nvPr/>
        </p:nvSpPr>
        <p:spPr>
          <a:xfrm>
            <a:off x="9607189" y="3719992"/>
            <a:ext cx="2143125" cy="992341"/>
          </a:xfrm>
          <a:prstGeom prst="wedgeRoundRectCallout">
            <a:avLst>
              <a:gd name="adj1" fmla="val -53722"/>
              <a:gd name="adj2" fmla="val 74978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Looks Good Let's Deploy!</a:t>
            </a:r>
            <a:endParaRPr lang="en-ZA" sz="2000" b="1" noProof="0" dirty="0" err="1">
              <a:solidFill>
                <a:schemeClr val="tx1"/>
              </a:solidFill>
            </a:endParaRPr>
          </a:p>
        </p:txBody>
      </p:sp>
      <p:sp>
        <p:nvSpPr>
          <p:cNvPr id="36" name="Arrow: Up 35">
            <a:extLst>
              <a:ext uri="{FF2B5EF4-FFF2-40B4-BE49-F238E27FC236}">
                <a16:creationId xmlns:a16="http://schemas.microsoft.com/office/drawing/2014/main" id="{6D814807-F4DC-AEB7-EEE9-DF24F56B031C}"/>
              </a:ext>
            </a:extLst>
          </p:cNvPr>
          <p:cNvSpPr/>
          <p:nvPr/>
        </p:nvSpPr>
        <p:spPr>
          <a:xfrm>
            <a:off x="8044861" y="4026428"/>
            <a:ext cx="424579" cy="1127256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A81A9DC-0D53-FFF6-B54D-2F6D67DA9553}"/>
              </a:ext>
            </a:extLst>
          </p:cNvPr>
          <p:cNvSpPr/>
          <p:nvPr/>
        </p:nvSpPr>
        <p:spPr>
          <a:xfrm>
            <a:off x="1254643" y="4371569"/>
            <a:ext cx="2011562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Dev-Branch</a:t>
            </a:r>
            <a:endParaRPr lang="en-ZA" sz="2400" b="1" noProof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847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22" presetClass="entr" presetSubtype="4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10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2" presetClass="entr" presetSubtype="4" repeatCount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0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5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000"/>
                            </p:stCondLst>
                            <p:childTnLst>
                              <p:par>
                                <p:cTn id="6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500"/>
                            </p:stCondLst>
                            <p:childTnLst>
                              <p:par>
                                <p:cTn id="7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8000"/>
                            </p:stCondLst>
                            <p:childTnLst>
                              <p:par>
                                <p:cTn id="79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8500"/>
                            </p:stCondLst>
                            <p:childTnLst>
                              <p:par>
                                <p:cTn id="83" presetID="22" presetClass="entr" presetSubtype="4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9500"/>
                            </p:stCondLst>
                            <p:childTnLst>
                              <p:par>
                                <p:cTn id="8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0000"/>
                            </p:stCondLst>
                            <p:childTnLst>
                              <p:par>
                                <p:cTn id="9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0500"/>
                            </p:stCondLst>
                            <p:childTnLst>
                              <p:par>
                                <p:cTn id="9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11000"/>
                            </p:stCondLst>
                            <p:childTnLst>
                              <p:par>
                                <p:cTn id="10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2" presetID="22" presetClass="entr" presetSubtype="4" repeatCount="2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13250"/>
                            </p:stCondLst>
                            <p:childTnLst>
                              <p:par>
                                <p:cTn id="116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13750"/>
                            </p:stCondLst>
                            <p:childTnLst>
                              <p:par>
                                <p:cTn id="120" presetID="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1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0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5000"/>
                            </p:stCondLst>
                            <p:childTnLst>
                              <p:par>
                                <p:cTn id="13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15500"/>
                            </p:stCondLst>
                            <p:childTnLst>
                              <p:par>
                                <p:cTn id="1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34" grpId="0" animBg="1"/>
      <p:bldP spid="37" grpId="0" animBg="1"/>
      <p:bldP spid="39" grpId="0" animBg="1"/>
      <p:bldP spid="33" grpId="0"/>
      <p:bldP spid="48" grpId="0" animBg="1"/>
      <p:bldP spid="4" grpId="0" animBg="1"/>
      <p:bldP spid="4" grpId="1" animBg="1"/>
      <p:bldP spid="6" grpId="0" animBg="1"/>
      <p:bldP spid="6" grpId="1" animBg="1"/>
      <p:bldP spid="9" grpId="0" animBg="1"/>
      <p:bldP spid="9" grpId="1" animBg="1"/>
      <p:bldP spid="10" grpId="0" animBg="1"/>
      <p:bldP spid="10" grpId="1" animBg="1"/>
      <p:bldP spid="12" grpId="0" animBg="1"/>
      <p:bldP spid="12" grpId="1" animBg="1"/>
      <p:bldP spid="35" grpId="0" animBg="1"/>
      <p:bldP spid="35" grpId="1" animBg="1"/>
      <p:bldP spid="36" grpId="0" animBg="1"/>
      <p:bldP spid="36" grpId="1" animBg="1"/>
      <p:bldP spid="1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lrida.oberholzer\AppData\Local\Temp\Templafy\PowerPointVsto\Assets\0467e58c-20fe-4852-bd1b-d8f1b669242e.jp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Dentons 16:9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ustom 1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Font typeface="Arial" panose="020B0604020202020204" pitchFamily="34" charset="0"/>
          <a:buChar char="•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Purple">
      <a:srgbClr val="702082"/>
    </a:custClr>
    <a:custClr name="Light Purple">
      <a:srgbClr val="A05EB5"/>
    </a:custClr>
    <a:custClr name="Dark Purple">
      <a:srgbClr val="5F216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">
      <a:srgbClr val="DA291C"/>
    </a:custClr>
    <a:custClr name="Gold">
      <a:srgbClr val="F1B434"/>
    </a:custClr>
    <a:custClr name="Green">
      <a:srgbClr val="43B02A"/>
    </a:custClr>
    <a:custClr name="Teal">
      <a:srgbClr val="00A499"/>
    </a:custClr>
    <a:custClr name="Blue">
      <a:srgbClr val="00A9E0"/>
    </a:custClr>
    <a:custClr name="Dark Red">
      <a:srgbClr val="9D2235"/>
    </a:custClr>
    <a:custClr name="Orange">
      <a:srgbClr val="ED8B00"/>
    </a:custClr>
    <a:custClr name="Dark Green">
      <a:srgbClr val="286140"/>
    </a:custClr>
    <a:custClr name="Dark Teal">
      <a:srgbClr val="00685D"/>
    </a:custClr>
    <a:custClr name="Dark Blue">
      <a:srgbClr val="004C97"/>
    </a:custClr>
    <a:custClr name="Brown">
      <a:srgbClr val="85431E"/>
    </a:custClr>
    <a:custClr name="Dark Pink">
      <a:srgbClr val="890C58"/>
    </a:custClr>
    <a:custClr name="Pink">
      <a:srgbClr val="D00070"/>
    </a:custClr>
    <a:custClr name="Dark Grey">
      <a:srgbClr val="545859"/>
    </a:custClr>
    <a:custClr name="Grey">
      <a:srgbClr val="707372"/>
    </a:custClr>
    <a:custClr name="Light Grey">
      <a:srgbClr val="9EA2A2"/>
    </a:custClr>
    <a:custClr name="Ekstra Light Grey">
      <a:srgbClr val="C7C9C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BA01DAC-5646-45A0-AF66-DDA0E6DC1A6C}" vid="{661637DB-4BB7-43DB-A020-ECBAB57B90D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ec3b462-023f-4d5d-916e-ea1f58025ed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32B9D669F4EC4BAB1D5C90AACD7F14" ma:contentTypeVersion="14" ma:contentTypeDescription="Create a new document." ma:contentTypeScope="" ma:versionID="4caf2f1c01fd27045a37f09237b1c7f5">
  <xsd:schema xmlns:xsd="http://www.w3.org/2001/XMLSchema" xmlns:xs="http://www.w3.org/2001/XMLSchema" xmlns:p="http://schemas.microsoft.com/office/2006/metadata/properties" xmlns:ns3="fec3b462-023f-4d5d-916e-ea1f58025ed9" xmlns:ns4="c820ed94-89e5-4068-a496-b05f100dec8e" targetNamespace="http://schemas.microsoft.com/office/2006/metadata/properties" ma:root="true" ma:fieldsID="bd2f0e76fdbd748911d9a962320caf88" ns3:_="" ns4:_="">
    <xsd:import namespace="fec3b462-023f-4d5d-916e-ea1f58025ed9"/>
    <xsd:import namespace="c820ed94-89e5-4068-a496-b05f100dec8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c3b462-023f-4d5d-916e-ea1f58025e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20ed94-89e5-4068-a496-b05f100dec8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78096B4-3AF9-4537-9505-CE8029EAA367}">
  <ds:schemaRefs>
    <ds:schemaRef ds:uri="http://purl.org/dc/terms/"/>
    <ds:schemaRef ds:uri="http://schemas.microsoft.com/office/infopath/2007/PartnerControls"/>
    <ds:schemaRef ds:uri="http://www.w3.org/XML/1998/namespace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c820ed94-89e5-4068-a496-b05f100dec8e"/>
    <ds:schemaRef ds:uri="fec3b462-023f-4d5d-916e-ea1f58025ed9"/>
  </ds:schemaRefs>
</ds:datastoreItem>
</file>

<file path=customXml/itemProps2.xml><?xml version="1.0" encoding="utf-8"?>
<ds:datastoreItem xmlns:ds="http://schemas.openxmlformats.org/officeDocument/2006/customXml" ds:itemID="{726ECC11-8EF4-42B8-B9B7-B13B86BFFAF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27DA02-E4CF-46D8-9B8D-27F2DD1EF3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c3b462-023f-4d5d-916e-ea1f58025ed9"/>
    <ds:schemaRef ds:uri="c820ed94-89e5-4068-a496-b05f100dec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174c7352-9c5c-4558-b848-be140b444e7d}" enabled="0" method="" siteId="{174c7352-9c5c-4558-b848-be140b444e7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398</TotalTime>
  <Words>254</Words>
  <Application>Microsoft Office PowerPoint</Application>
  <PresentationFormat>Widescreen</PresentationFormat>
  <Paragraphs>88</Paragraphs>
  <Slides>14</Slides>
  <Notes>6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ptos</vt:lpstr>
      <vt:lpstr>Arial</vt:lpstr>
      <vt:lpstr>Helvetica</vt:lpstr>
      <vt:lpstr>Segoe UI Semibold</vt:lpstr>
      <vt:lpstr>Dentons 16:9</vt:lpstr>
      <vt:lpstr>think-cell Slide</vt:lpstr>
      <vt:lpstr>Sambe Consulting BIOps Presentation 19 August 2024</vt:lpstr>
      <vt:lpstr>Agenda</vt:lpstr>
      <vt:lpstr>PowerPoint Presentation</vt:lpstr>
      <vt:lpstr>Understanding BIOps</vt:lpstr>
      <vt:lpstr>PowerPoint Presentation</vt:lpstr>
      <vt:lpstr>Use Case Scenario</vt:lpstr>
      <vt:lpstr>PowerPoint Presentation</vt:lpstr>
      <vt:lpstr>BIOps Workflow</vt:lpstr>
      <vt:lpstr>BIOps Workflow (cont.)</vt:lpstr>
      <vt:lpstr>PowerPoint Presentation</vt:lpstr>
      <vt:lpstr>PowerPoint Presentation</vt:lpstr>
      <vt:lpstr>Sequence of Demo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haag Nepaul</dc:creator>
  <cp:lastModifiedBy>Bihaag Nepaul</cp:lastModifiedBy>
  <cp:revision>90</cp:revision>
  <dcterms:created xsi:type="dcterms:W3CDTF">2024-05-03T18:09:04Z</dcterms:created>
  <dcterms:modified xsi:type="dcterms:W3CDTF">2024-08-19T15:15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32B9D669F4EC4BAB1D5C90AACD7F14</vt:lpwstr>
  </property>
</Properties>
</file>